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4" r:id="rId4"/>
  </p:sldMasterIdLst>
  <p:notesMasterIdLst>
    <p:notesMasterId r:id="rId10"/>
  </p:notesMasterIdLst>
  <p:handoutMasterIdLst>
    <p:handoutMasterId r:id="rId11"/>
  </p:handoutMasterIdLst>
  <p:sldIdLst>
    <p:sldId id="6005" r:id="rId5"/>
    <p:sldId id="6008" r:id="rId6"/>
    <p:sldId id="6009" r:id="rId7"/>
    <p:sldId id="6010" r:id="rId8"/>
    <p:sldId id="6011" r:id="rId9"/>
  </p:sldIdLst>
  <p:sldSz cx="9906000" cy="6858000" type="A4"/>
  <p:notesSz cx="7104063" cy="10234613"/>
  <p:embeddedFontLst>
    <p:embeddedFont>
      <p:font typeface="Berlin Sans FB Demi" panose="020E0802020502020306" pitchFamily="34" charset="0"/>
      <p:bold r:id="rId12"/>
    </p:embeddedFont>
    <p:embeddedFont>
      <p:font typeface="Calibri" panose="020F0502020204030204" pitchFamily="34" charset="0"/>
      <p:regular r:id="rId13"/>
      <p:bold r:id="rId14"/>
      <p:italic r:id="rId15"/>
      <p:boldItalic r:id="rId16"/>
    </p:embeddedFont>
    <p:embeddedFont>
      <p:font typeface="Microsoft New Tai Lue" panose="020B0502040204020203" pitchFamily="34" charset="0"/>
      <p:regular r:id="rId17"/>
      <p:bold r:id="rId18"/>
    </p:embeddedFont>
    <p:embeddedFont>
      <p:font typeface="Perpetua" panose="02020502060401020303" pitchFamily="18" charset="0"/>
      <p:regular r:id="rId19"/>
      <p:bold r:id="rId20"/>
      <p:italic r:id="rId21"/>
      <p:boldItalic r:id="rId22"/>
    </p:embeddedFont>
    <p:embeddedFont>
      <p:font typeface="Roboto" panose="02000000000000000000" pitchFamily="2" charset="0"/>
      <p:regular r:id="rId23"/>
      <p:bold r:id="rId24"/>
      <p:italic r:id="rId25"/>
      <p:boldItalic r:id="rId26"/>
    </p:embeddedFont>
    <p:embeddedFont>
      <p:font typeface="Roboto Light" panose="02000000000000000000" pitchFamily="2" charset="0"/>
      <p:regular r:id="rId27"/>
      <p:italic r:id="rId28"/>
    </p:embeddedFont>
    <p:embeddedFont>
      <p:font typeface="Roboto Medium" panose="02000000000000000000" pitchFamily="2" charset="0"/>
      <p:regular r:id="rId29"/>
      <p:italic r:id="rId30"/>
    </p:embeddedFont>
  </p:embeddedFontLst>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B4C1E82-1E82-4812-BFA6-E953A9085CAB}">
          <p14:sldIdLst>
            <p14:sldId id="6005"/>
            <p14:sldId id="6008"/>
            <p14:sldId id="6009"/>
            <p14:sldId id="6010"/>
            <p14:sldId id="6011"/>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Otto Li" initials="OL" lastIdx="1" clrIdx="6">
    <p:extLst>
      <p:ext uri="{19B8F6BF-5375-455C-9EA6-DF929625EA0E}">
        <p15:presenceInfo xmlns:p15="http://schemas.microsoft.com/office/powerpoint/2012/main" userId="S::oli@quantium.com::bf0a02e2-300b-46fb-a971-ed16756dea32" providerId="AD"/>
      </p:ext>
    </p:extLst>
  </p:cmAuthor>
  <p:cmAuthor id="1" name="Nathan Liu" initials="NL" lastIdx="1" clrIdx="0">
    <p:extLst>
      <p:ext uri="{19B8F6BF-5375-455C-9EA6-DF929625EA0E}">
        <p15:presenceInfo xmlns:p15="http://schemas.microsoft.com/office/powerpoint/2012/main" userId="S::nliu@quantium.com::4562bf76-bd1b-4ac2-b2e6-280ddc4e71f8" providerId="AD"/>
      </p:ext>
    </p:extLst>
  </p:cmAuthor>
  <p:cmAuthor id="8" name="Raymond Chan" initials="RC" lastIdx="1" clrIdx="7">
    <p:extLst>
      <p:ext uri="{19B8F6BF-5375-455C-9EA6-DF929625EA0E}">
        <p15:presenceInfo xmlns:p15="http://schemas.microsoft.com/office/powerpoint/2012/main" userId="S::RChan@quantium.com::eaeca90f-8b2a-40b8-a084-a0d11391d7aa" providerId="AD"/>
      </p:ext>
    </p:extLst>
  </p:cmAuthor>
  <p:cmAuthor id="2" name="Vincent Tang" initials="VT" lastIdx="1" clrIdx="1">
    <p:extLst>
      <p:ext uri="{19B8F6BF-5375-455C-9EA6-DF929625EA0E}">
        <p15:presenceInfo xmlns:p15="http://schemas.microsoft.com/office/powerpoint/2012/main" userId="S::VTang@quantium.com::73bd9738-e508-41cc-8299-559393123e17" providerId="AD"/>
      </p:ext>
    </p:extLst>
  </p:cmAuthor>
  <p:cmAuthor id="3" name="Benjamin Deng" initials="BD" lastIdx="1" clrIdx="2">
    <p:extLst>
      <p:ext uri="{19B8F6BF-5375-455C-9EA6-DF929625EA0E}">
        <p15:presenceInfo xmlns:p15="http://schemas.microsoft.com/office/powerpoint/2012/main" userId="S::bdeng@quantium.com::c52de9ee-7486-481d-935b-7c6508e5a94e" providerId="AD"/>
      </p:ext>
    </p:extLst>
  </p:cmAuthor>
  <p:cmAuthor id="4" name="Max Yeung" initials="MY" lastIdx="1" clrIdx="3">
    <p:extLst>
      <p:ext uri="{19B8F6BF-5375-455C-9EA6-DF929625EA0E}">
        <p15:presenceInfo xmlns:p15="http://schemas.microsoft.com/office/powerpoint/2012/main" userId="S::mayeung@quantium.com::d4c3156a-852a-4f5c-86b0-97a99c80dd5f" providerId="AD"/>
      </p:ext>
    </p:extLst>
  </p:cmAuthor>
  <p:cmAuthor id="5" name="Eileen Dzhumasheva" initials="ED" lastIdx="1" clrIdx="4">
    <p:extLst>
      <p:ext uri="{19B8F6BF-5375-455C-9EA6-DF929625EA0E}">
        <p15:presenceInfo xmlns:p15="http://schemas.microsoft.com/office/powerpoint/2012/main" userId="S::EDzhumasheva@quantium.com::eb57c40b-a3f7-4d4d-bd33-435c0abfbc9e" providerId="AD"/>
      </p:ext>
    </p:extLst>
  </p:cmAuthor>
  <p:cmAuthor id="6" name="Rebekah Sawkins" initials="RS" lastIdx="1" clrIdx="5">
    <p:extLst>
      <p:ext uri="{19B8F6BF-5375-455C-9EA6-DF929625EA0E}">
        <p15:presenceInfo xmlns:p15="http://schemas.microsoft.com/office/powerpoint/2012/main" userId="S::RSawkins@quantium.com::3546e887-e237-4edd-9925-ffd0e379bf5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E72BF"/>
    <a:srgbClr val="FFFFFF"/>
    <a:srgbClr val="EF9B47"/>
    <a:srgbClr val="E8E3F2"/>
    <a:srgbClr val="FCEBDA"/>
    <a:srgbClr val="2C4979"/>
    <a:srgbClr val="EDEDED"/>
    <a:srgbClr val="DAF0F3"/>
    <a:srgbClr val="F4917E"/>
    <a:srgbClr val="7CCBD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12" d="100"/>
          <a:sy n="112" d="100"/>
        </p:scale>
        <p:origin x="1066" y="7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font" Target="fonts/font2.fntdata"/><Relationship Id="rId18" Type="http://schemas.openxmlformats.org/officeDocument/2006/relationships/font" Target="fonts/font7.fntdata"/><Relationship Id="rId26" Type="http://schemas.openxmlformats.org/officeDocument/2006/relationships/font" Target="fonts/font15.fntdata"/><Relationship Id="rId21" Type="http://schemas.openxmlformats.org/officeDocument/2006/relationships/font" Target="fonts/font10.fntdata"/><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font" Target="fonts/font1.fntdata"/><Relationship Id="rId17" Type="http://schemas.openxmlformats.org/officeDocument/2006/relationships/font" Target="fonts/font6.fntdata"/><Relationship Id="rId25" Type="http://schemas.openxmlformats.org/officeDocument/2006/relationships/font" Target="fonts/font14.fntdata"/><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font" Target="fonts/font5.fntdata"/><Relationship Id="rId20" Type="http://schemas.openxmlformats.org/officeDocument/2006/relationships/font" Target="fonts/font9.fntdata"/><Relationship Id="rId29" Type="http://schemas.openxmlformats.org/officeDocument/2006/relationships/font" Target="fonts/font18.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handoutMaster" Target="handoutMasters/handoutMaster1.xml"/><Relationship Id="rId24" Type="http://schemas.openxmlformats.org/officeDocument/2006/relationships/font" Target="fonts/font13.fntdata"/><Relationship Id="rId32" Type="http://schemas.openxmlformats.org/officeDocument/2006/relationships/commentAuthors" Target="commentAuthors.xml"/><Relationship Id="rId37"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font" Target="fonts/font4.fntdata"/><Relationship Id="rId23" Type="http://schemas.openxmlformats.org/officeDocument/2006/relationships/font" Target="fonts/font12.fntdata"/><Relationship Id="rId28" Type="http://schemas.openxmlformats.org/officeDocument/2006/relationships/font" Target="fonts/font17.fntdata"/><Relationship Id="rId36" Type="http://schemas.openxmlformats.org/officeDocument/2006/relationships/tableStyles" Target="tableStyles.xml"/><Relationship Id="rId10" Type="http://schemas.openxmlformats.org/officeDocument/2006/relationships/notesMaster" Target="notesMasters/notesMaster1.xml"/><Relationship Id="rId19" Type="http://schemas.openxmlformats.org/officeDocument/2006/relationships/font" Target="fonts/font8.fntdata"/><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font" Target="fonts/font3.fntdata"/><Relationship Id="rId22" Type="http://schemas.openxmlformats.org/officeDocument/2006/relationships/font" Target="fonts/font11.fntdata"/><Relationship Id="rId27" Type="http://schemas.openxmlformats.org/officeDocument/2006/relationships/font" Target="fonts/font16.fntdata"/><Relationship Id="rId30" Type="http://schemas.openxmlformats.org/officeDocument/2006/relationships/font" Target="fonts/font19.fntdata"/><Relationship Id="rId35"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ditya Katiyar" userId="7d2d2a7d-8b00-4560-8024-7c87638df19b" providerId="ADAL" clId="{620BA97E-4934-4D62-A845-1D447FF96E5C}"/>
    <pc:docChg chg="modSld delSection">
      <pc:chgData name="Aditya Katiyar" userId="7d2d2a7d-8b00-4560-8024-7c87638df19b" providerId="ADAL" clId="{620BA97E-4934-4D62-A845-1D447FF96E5C}" dt="2023-09-20T04:47:34.379" v="9" actId="20577"/>
      <pc:docMkLst>
        <pc:docMk/>
      </pc:docMkLst>
      <pc:sldChg chg="modSp mod">
        <pc:chgData name="Aditya Katiyar" userId="7d2d2a7d-8b00-4560-8024-7c87638df19b" providerId="ADAL" clId="{620BA97E-4934-4D62-A845-1D447FF96E5C}" dt="2023-09-20T04:47:34.379" v="9" actId="20577"/>
        <pc:sldMkLst>
          <pc:docMk/>
          <pc:sldMk cId="3860358050" sldId="6005"/>
        </pc:sldMkLst>
        <pc:spChg chg="mod">
          <ac:chgData name="Aditya Katiyar" userId="7d2d2a7d-8b00-4560-8024-7c87638df19b" providerId="ADAL" clId="{620BA97E-4934-4D62-A845-1D447FF96E5C}" dt="2023-09-20T04:47:34.379" v="9" actId="20577"/>
          <ac:spMkLst>
            <pc:docMk/>
            <pc:sldMk cId="3860358050" sldId="6005"/>
            <ac:spMk id="2" creationId="{6201FE32-F9D0-46CC-8953-6F84751CCC9C}"/>
          </ac:spMkLst>
        </pc:spChg>
        <pc:spChg chg="mod">
          <ac:chgData name="Aditya Katiyar" userId="7d2d2a7d-8b00-4560-8024-7c87638df19b" providerId="ADAL" clId="{620BA97E-4934-4D62-A845-1D447FF96E5C}" dt="2023-09-19T23:20:58.157" v="6" actId="20577"/>
          <ac:spMkLst>
            <pc:docMk/>
            <pc:sldMk cId="3860358050" sldId="6005"/>
            <ac:spMk id="5" creationId="{D64EAAF9-453B-4211-8B7D-B24E17F0DCCB}"/>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FF9E766-563D-4636-9E72-2DEAB41BBCF1}"/>
              </a:ext>
            </a:extLst>
          </p:cNvPr>
          <p:cNvSpPr>
            <a:spLocks noGrp="1"/>
          </p:cNvSpPr>
          <p:nvPr>
            <p:ph type="hdr" sz="quarter"/>
          </p:nvPr>
        </p:nvSpPr>
        <p:spPr>
          <a:xfrm>
            <a:off x="0" y="0"/>
            <a:ext cx="3078163" cy="512763"/>
          </a:xfrm>
          <a:prstGeom prst="rect">
            <a:avLst/>
          </a:prstGeom>
        </p:spPr>
        <p:txBody>
          <a:bodyPr vert="horz" lIns="91440" tIns="45720" rIns="91440" bIns="45720" rtlCol="0"/>
          <a:lstStyle>
            <a:lvl1pPr algn="l">
              <a:defRPr sz="1200"/>
            </a:lvl1pPr>
          </a:lstStyle>
          <a:p>
            <a:endParaRPr lang="en-AU"/>
          </a:p>
        </p:txBody>
      </p:sp>
      <p:sp>
        <p:nvSpPr>
          <p:cNvPr id="3" name="Date Placeholder 2">
            <a:extLst>
              <a:ext uri="{FF2B5EF4-FFF2-40B4-BE49-F238E27FC236}">
                <a16:creationId xmlns:a16="http://schemas.microsoft.com/office/drawing/2014/main" id="{9FE75DCF-B664-4305-87C2-82E6AA65ECD9}"/>
              </a:ext>
            </a:extLst>
          </p:cNvPr>
          <p:cNvSpPr>
            <a:spLocks noGrp="1"/>
          </p:cNvSpPr>
          <p:nvPr>
            <p:ph type="dt" sz="quarter" idx="1"/>
          </p:nvPr>
        </p:nvSpPr>
        <p:spPr>
          <a:xfrm>
            <a:off x="4024313" y="0"/>
            <a:ext cx="3078162" cy="512763"/>
          </a:xfrm>
          <a:prstGeom prst="rect">
            <a:avLst/>
          </a:prstGeom>
        </p:spPr>
        <p:txBody>
          <a:bodyPr vert="horz" lIns="91440" tIns="45720" rIns="91440" bIns="45720" rtlCol="0"/>
          <a:lstStyle>
            <a:lvl1pPr algn="r">
              <a:defRPr sz="1200"/>
            </a:lvl1pPr>
          </a:lstStyle>
          <a:p>
            <a:fld id="{3C7BE7D8-4C1E-41F3-B5EF-61D1F2EE7764}" type="datetimeFigureOut">
              <a:rPr lang="en-AU" smtClean="0"/>
              <a:t>20/09/2023</a:t>
            </a:fld>
            <a:endParaRPr lang="en-AU"/>
          </a:p>
        </p:txBody>
      </p:sp>
      <p:sp>
        <p:nvSpPr>
          <p:cNvPr id="4" name="Footer Placeholder 3">
            <a:extLst>
              <a:ext uri="{FF2B5EF4-FFF2-40B4-BE49-F238E27FC236}">
                <a16:creationId xmlns:a16="http://schemas.microsoft.com/office/drawing/2014/main" id="{3F03ABB7-D981-432B-8BFA-5F88D1849A07}"/>
              </a:ext>
            </a:extLst>
          </p:cNvPr>
          <p:cNvSpPr>
            <a:spLocks noGrp="1"/>
          </p:cNvSpPr>
          <p:nvPr>
            <p:ph type="ftr" sz="quarter" idx="2"/>
          </p:nvPr>
        </p:nvSpPr>
        <p:spPr>
          <a:xfrm>
            <a:off x="0" y="9721850"/>
            <a:ext cx="3078163" cy="512763"/>
          </a:xfrm>
          <a:prstGeom prst="rect">
            <a:avLst/>
          </a:prstGeom>
        </p:spPr>
        <p:txBody>
          <a:bodyPr vert="horz" lIns="91440" tIns="45720" rIns="91440" bIns="45720" rtlCol="0" anchor="b"/>
          <a:lstStyle>
            <a:lvl1pPr algn="l">
              <a:defRPr sz="1200"/>
            </a:lvl1pPr>
          </a:lstStyle>
          <a:p>
            <a:endParaRPr lang="en-AU"/>
          </a:p>
        </p:txBody>
      </p:sp>
      <p:sp>
        <p:nvSpPr>
          <p:cNvPr id="5" name="Slide Number Placeholder 4">
            <a:extLst>
              <a:ext uri="{FF2B5EF4-FFF2-40B4-BE49-F238E27FC236}">
                <a16:creationId xmlns:a16="http://schemas.microsoft.com/office/drawing/2014/main" id="{144B3F66-098C-44C3-8501-00E554C2D5D0}"/>
              </a:ext>
            </a:extLst>
          </p:cNvPr>
          <p:cNvSpPr>
            <a:spLocks noGrp="1"/>
          </p:cNvSpPr>
          <p:nvPr>
            <p:ph type="sldNum" sz="quarter" idx="3"/>
          </p:nvPr>
        </p:nvSpPr>
        <p:spPr>
          <a:xfrm>
            <a:off x="4024313" y="9721850"/>
            <a:ext cx="3078162" cy="512763"/>
          </a:xfrm>
          <a:prstGeom prst="rect">
            <a:avLst/>
          </a:prstGeom>
        </p:spPr>
        <p:txBody>
          <a:bodyPr vert="horz" lIns="91440" tIns="45720" rIns="91440" bIns="45720" rtlCol="0" anchor="b"/>
          <a:lstStyle>
            <a:lvl1pPr algn="r">
              <a:defRPr sz="1200"/>
            </a:lvl1pPr>
          </a:lstStyle>
          <a:p>
            <a:fld id="{C1FD1EFF-1893-4D3D-9495-83D325F456BA}" type="slidenum">
              <a:rPr lang="en-AU" smtClean="0"/>
              <a:t>‹#›</a:t>
            </a:fld>
            <a:endParaRPr lang="en-AU"/>
          </a:p>
        </p:txBody>
      </p:sp>
    </p:spTree>
    <p:extLst>
      <p:ext uri="{BB962C8B-B14F-4D97-AF65-F5344CB8AC3E}">
        <p14:creationId xmlns:p14="http://schemas.microsoft.com/office/powerpoint/2010/main" val="20955116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427" cy="513508"/>
          </a:xfrm>
          <a:prstGeom prst="rect">
            <a:avLst/>
          </a:prstGeom>
        </p:spPr>
        <p:txBody>
          <a:bodyPr vert="horz" lIns="99075" tIns="49538" rIns="99075" bIns="49538" rtlCol="0"/>
          <a:lstStyle>
            <a:lvl1pPr algn="l" rtl="0">
              <a:defRPr sz="1300"/>
            </a:lvl1pPr>
          </a:lstStyle>
          <a:p>
            <a:endParaRPr lang="en-AU"/>
          </a:p>
        </p:txBody>
      </p:sp>
      <p:sp>
        <p:nvSpPr>
          <p:cNvPr id="3" name="Date Placeholder 2"/>
          <p:cNvSpPr>
            <a:spLocks noGrp="1"/>
          </p:cNvSpPr>
          <p:nvPr>
            <p:ph type="dt" idx="1"/>
          </p:nvPr>
        </p:nvSpPr>
        <p:spPr>
          <a:xfrm>
            <a:off x="4023992" y="0"/>
            <a:ext cx="3078427" cy="513508"/>
          </a:xfrm>
          <a:prstGeom prst="rect">
            <a:avLst/>
          </a:prstGeom>
        </p:spPr>
        <p:txBody>
          <a:bodyPr vert="horz" lIns="99075" tIns="49538" rIns="99075" bIns="49538" rtlCol="0"/>
          <a:lstStyle>
            <a:lvl1pPr algn="r" rtl="0">
              <a:defRPr sz="1300"/>
            </a:lvl1pPr>
          </a:lstStyle>
          <a:p>
            <a:fld id="{2D2BC67B-9979-41B5-894E-1698E71E6D5D}" type="datetimeFigureOut">
              <a:rPr lang="en-AU" smtClean="0"/>
              <a:pPr/>
              <a:t>20/09/2023</a:t>
            </a:fld>
            <a:endParaRPr lang="en-AU"/>
          </a:p>
        </p:txBody>
      </p:sp>
      <p:sp>
        <p:nvSpPr>
          <p:cNvPr id="4" name="Slide Image Placeholder 3"/>
          <p:cNvSpPr>
            <a:spLocks noGrp="1" noRot="1" noChangeAspect="1"/>
          </p:cNvSpPr>
          <p:nvPr>
            <p:ph type="sldImg" idx="2"/>
          </p:nvPr>
        </p:nvSpPr>
        <p:spPr>
          <a:xfrm>
            <a:off x="1057275" y="1279525"/>
            <a:ext cx="4989513" cy="3454400"/>
          </a:xfrm>
          <a:prstGeom prst="rect">
            <a:avLst/>
          </a:prstGeom>
          <a:noFill/>
          <a:ln w="12700">
            <a:solidFill>
              <a:prstClr val="black"/>
            </a:solidFill>
          </a:ln>
        </p:spPr>
        <p:txBody>
          <a:bodyPr vert="horz" lIns="99075" tIns="49538" rIns="99075" bIns="49538" rtlCol="0" anchor="ctr"/>
          <a:lstStyle/>
          <a:p>
            <a:endParaRPr lang="en-AU"/>
          </a:p>
        </p:txBody>
      </p:sp>
      <p:sp>
        <p:nvSpPr>
          <p:cNvPr id="5" name="Notes Placeholder 4"/>
          <p:cNvSpPr>
            <a:spLocks noGrp="1"/>
          </p:cNvSpPr>
          <p:nvPr>
            <p:ph type="body" sz="quarter" idx="3"/>
          </p:nvPr>
        </p:nvSpPr>
        <p:spPr>
          <a:xfrm>
            <a:off x="710407" y="4925407"/>
            <a:ext cx="5683250" cy="4029879"/>
          </a:xfrm>
          <a:prstGeom prst="rect">
            <a:avLst/>
          </a:prstGeom>
        </p:spPr>
        <p:txBody>
          <a:bodyPr vert="horz" lIns="99075" tIns="49538" rIns="99075" bIns="49538" rtlCol="0"/>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6" name="Footer Placeholder 5"/>
          <p:cNvSpPr>
            <a:spLocks noGrp="1"/>
          </p:cNvSpPr>
          <p:nvPr>
            <p:ph type="ftr" sz="quarter" idx="4"/>
          </p:nvPr>
        </p:nvSpPr>
        <p:spPr>
          <a:xfrm>
            <a:off x="0" y="9721107"/>
            <a:ext cx="3078427" cy="513507"/>
          </a:xfrm>
          <a:prstGeom prst="rect">
            <a:avLst/>
          </a:prstGeom>
        </p:spPr>
        <p:txBody>
          <a:bodyPr vert="horz" lIns="99075" tIns="49538" rIns="99075" bIns="49538" rtlCol="0" anchor="b"/>
          <a:lstStyle>
            <a:lvl1pPr algn="l" rtl="0">
              <a:defRPr sz="1300"/>
            </a:lvl1pPr>
          </a:lstStyle>
          <a:p>
            <a:endParaRPr lang="en-AU"/>
          </a:p>
        </p:txBody>
      </p:sp>
      <p:sp>
        <p:nvSpPr>
          <p:cNvPr id="7" name="Slide Number Placeholder 6"/>
          <p:cNvSpPr>
            <a:spLocks noGrp="1"/>
          </p:cNvSpPr>
          <p:nvPr>
            <p:ph type="sldNum" sz="quarter" idx="5"/>
          </p:nvPr>
        </p:nvSpPr>
        <p:spPr>
          <a:xfrm>
            <a:off x="4023992" y="9721107"/>
            <a:ext cx="3078427" cy="513507"/>
          </a:xfrm>
          <a:prstGeom prst="rect">
            <a:avLst/>
          </a:prstGeom>
        </p:spPr>
        <p:txBody>
          <a:bodyPr vert="horz" lIns="99075" tIns="49538" rIns="99075" bIns="49538" rtlCol="0" anchor="b"/>
          <a:lstStyle>
            <a:lvl1pPr algn="r" rtl="0">
              <a:defRPr sz="1300"/>
            </a:lvl1pPr>
          </a:lstStyle>
          <a:p>
            <a:fld id="{5BF4487C-A668-491E-AB55-77AD12993FED}" type="slidenum">
              <a:rPr lang="en-AU" smtClean="0"/>
              <a:pPr/>
              <a:t>‹#›</a:t>
            </a:fld>
            <a:endParaRPr lang="en-AU"/>
          </a:p>
        </p:txBody>
      </p:sp>
    </p:spTree>
    <p:extLst>
      <p:ext uri="{BB962C8B-B14F-4D97-AF65-F5344CB8AC3E}">
        <p14:creationId xmlns:p14="http://schemas.microsoft.com/office/powerpoint/2010/main" val="31659022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03E9FF-EA0D-401D-A985-59F7EFC7B7D2}"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36667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03E9FF-EA0D-401D-A985-59F7EFC7B7D2}"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66099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1 (no client logo)">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D28B052-5111-463B-A63E-ADF8BADE2F2B}"/>
              </a:ext>
            </a:extLst>
          </p:cNvPr>
          <p:cNvGraphicFramePr>
            <a:graphicFrameLocks noChangeAspect="1"/>
          </p:cNvGraphicFramePr>
          <p:nvPr>
            <p:custDataLst>
              <p:tags r:id="rId1"/>
            </p:custDataLst>
            <p:extLst>
              <p:ext uri="{D42A27DB-BD31-4B8C-83A1-F6EECF244321}">
                <p14:modId xmlns:p14="http://schemas.microsoft.com/office/powerpoint/2010/main" val="23326530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6" name="Object 5" hidden="1">
                        <a:extLst>
                          <a:ext uri="{FF2B5EF4-FFF2-40B4-BE49-F238E27FC236}">
                            <a16:creationId xmlns:a16="http://schemas.microsoft.com/office/drawing/2014/main" id="{7D28B052-5111-463B-A63E-ADF8BADE2F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E6A55C9-5B74-4835-9859-F8241E4888D1}"/>
              </a:ext>
            </a:extLst>
          </p:cNvPr>
          <p:cNvSpPr>
            <a:spLocks noGrp="1"/>
          </p:cNvSpPr>
          <p:nvPr>
            <p:ph type="ctrTitle" hasCustomPrompt="1"/>
          </p:nvPr>
        </p:nvSpPr>
        <p:spPr>
          <a:xfrm>
            <a:off x="985442" y="1537494"/>
            <a:ext cx="3320057" cy="2387600"/>
          </a:xfrm>
          <a:prstGeom prst="rect">
            <a:avLst/>
          </a:prstGeom>
        </p:spPr>
        <p:txBody>
          <a:bodyPr lIns="0" anchor="b">
            <a:noAutofit/>
          </a:bodyPr>
          <a:lstStyle>
            <a:lvl1pPr algn="l">
              <a:lnSpc>
                <a:spcPct val="100000"/>
              </a:lnSpc>
              <a:defRPr sz="2700">
                <a:solidFill>
                  <a:schemeClr val="tx1"/>
                </a:solidFill>
                <a:latin typeface="Roboto Medium" panose="02000000000000000000" pitchFamily="2" charset="0"/>
                <a:ea typeface="Roboto Medium" panose="02000000000000000000" pitchFamily="2" charset="0"/>
              </a:defRPr>
            </a:lvl1pPr>
          </a:lstStyle>
          <a:p>
            <a:r>
              <a:rPr lang="en-US"/>
              <a:t>Insert title</a:t>
            </a:r>
            <a:endParaRPr lang="en-AU"/>
          </a:p>
        </p:txBody>
      </p:sp>
      <p:sp>
        <p:nvSpPr>
          <p:cNvPr id="3" name="Subtitle 2">
            <a:extLst>
              <a:ext uri="{FF2B5EF4-FFF2-40B4-BE49-F238E27FC236}">
                <a16:creationId xmlns:a16="http://schemas.microsoft.com/office/drawing/2014/main" id="{A8BAD180-19AA-445F-85D5-44F3F0AB654B}"/>
              </a:ext>
            </a:extLst>
          </p:cNvPr>
          <p:cNvSpPr>
            <a:spLocks noGrp="1"/>
          </p:cNvSpPr>
          <p:nvPr>
            <p:ph type="subTitle" idx="1" hasCustomPrompt="1"/>
          </p:nvPr>
        </p:nvSpPr>
        <p:spPr>
          <a:xfrm>
            <a:off x="985441" y="4126706"/>
            <a:ext cx="3320057" cy="1236662"/>
          </a:xfrm>
          <a:prstGeom prst="rect">
            <a:avLst/>
          </a:prstGeom>
        </p:spPr>
        <p:txBody>
          <a:bodyPr lIns="0">
            <a:noAutofit/>
          </a:bodyPr>
          <a:lstStyle>
            <a:lvl1pPr marL="0" indent="0" algn="l">
              <a:lnSpc>
                <a:spcPct val="100000"/>
              </a:lnSpc>
              <a:buNone/>
              <a:defRPr sz="1800">
                <a:solidFill>
                  <a:schemeClr val="tx1"/>
                </a:solidFill>
                <a:latin typeface="Roboto Light" panose="02000000000000000000" pitchFamily="2" charset="0"/>
                <a:ea typeface="Roboto Light" panose="02000000000000000000" pitchFamily="2" charset="0"/>
              </a:defRPr>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en-US"/>
              <a:t>Name surname</a:t>
            </a:r>
            <a:endParaRPr lang="en-AU"/>
          </a:p>
        </p:txBody>
      </p:sp>
      <p:sp>
        <p:nvSpPr>
          <p:cNvPr id="4" name="Rectangle 3">
            <a:extLst>
              <a:ext uri="{FF2B5EF4-FFF2-40B4-BE49-F238E27FC236}">
                <a16:creationId xmlns:a16="http://schemas.microsoft.com/office/drawing/2014/main" id="{33AF9D96-C52E-4309-BF03-B3E573906B78}"/>
              </a:ext>
            </a:extLst>
          </p:cNvPr>
          <p:cNvSpPr/>
          <p:nvPr/>
        </p:nvSpPr>
        <p:spPr>
          <a:xfrm>
            <a:off x="137867" y="6202837"/>
            <a:ext cx="306371" cy="377072"/>
          </a:xfrm>
          <a:prstGeom prst="rect">
            <a:avLst/>
          </a:prstGeom>
          <a:solidFill>
            <a:srgbClr val="0000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63"/>
          </a:p>
        </p:txBody>
      </p:sp>
      <p:sp>
        <p:nvSpPr>
          <p:cNvPr id="15" name="Text Placeholder 14">
            <a:extLst>
              <a:ext uri="{FF2B5EF4-FFF2-40B4-BE49-F238E27FC236}">
                <a16:creationId xmlns:a16="http://schemas.microsoft.com/office/drawing/2014/main" id="{C70ED5BD-1957-480E-8121-92F75D538BB9}"/>
              </a:ext>
            </a:extLst>
          </p:cNvPr>
          <p:cNvSpPr>
            <a:spLocks noGrp="1"/>
          </p:cNvSpPr>
          <p:nvPr>
            <p:ph type="body" sz="quarter" idx="10" hasCustomPrompt="1"/>
          </p:nvPr>
        </p:nvSpPr>
        <p:spPr>
          <a:xfrm>
            <a:off x="985441" y="650878"/>
            <a:ext cx="1729681" cy="244475"/>
          </a:xfrm>
          <a:prstGeom prst="rect">
            <a:avLst/>
          </a:prstGeom>
        </p:spPr>
        <p:txBody>
          <a:bodyPr lIns="0">
            <a:noAutofit/>
          </a:bodyPr>
          <a:lstStyle>
            <a:lvl1pPr marL="0" indent="0" algn="l" defTabSz="742950" rtl="0" eaLnBrk="1" latinLnBrk="0" hangingPunct="1">
              <a:lnSpc>
                <a:spcPct val="90000"/>
              </a:lnSpc>
              <a:spcBef>
                <a:spcPts val="813"/>
              </a:spcBef>
              <a:buFont typeface="Arial" panose="020B0604020202020204" pitchFamily="34" charset="0"/>
              <a:buNone/>
              <a:defRPr lang="en-AU" sz="1000" kern="1200" dirty="0">
                <a:solidFill>
                  <a:schemeClr val="tx1"/>
                </a:solidFill>
                <a:latin typeface="Roboto Light" panose="02000000000000000000" pitchFamily="2" charset="0"/>
                <a:ea typeface="Roboto Light" panose="02000000000000000000" pitchFamily="2" charset="0"/>
                <a:cs typeface="+mn-cs"/>
              </a:defRPr>
            </a:lvl1pPr>
          </a:lstStyle>
          <a:p>
            <a:pPr lvl="0"/>
            <a:r>
              <a:rPr lang="en-US"/>
              <a:t>Day Month Year</a:t>
            </a:r>
            <a:endParaRPr lang="en-AU"/>
          </a:p>
        </p:txBody>
      </p:sp>
      <p:sp>
        <p:nvSpPr>
          <p:cNvPr id="16" name="Text Placeholder 14">
            <a:extLst>
              <a:ext uri="{FF2B5EF4-FFF2-40B4-BE49-F238E27FC236}">
                <a16:creationId xmlns:a16="http://schemas.microsoft.com/office/drawing/2014/main" id="{E7D1F94D-475D-4F95-BDAD-887DFD7638A0}"/>
              </a:ext>
            </a:extLst>
          </p:cNvPr>
          <p:cNvSpPr>
            <a:spLocks noGrp="1"/>
          </p:cNvSpPr>
          <p:nvPr>
            <p:ph type="body" sz="quarter" idx="11" hasCustomPrompt="1"/>
          </p:nvPr>
        </p:nvSpPr>
        <p:spPr>
          <a:xfrm>
            <a:off x="985441" y="458792"/>
            <a:ext cx="1729681" cy="244475"/>
          </a:xfrm>
          <a:prstGeom prst="rect">
            <a:avLst/>
          </a:prstGeom>
        </p:spPr>
        <p:txBody>
          <a:bodyPr lIns="0">
            <a:noAutofit/>
          </a:bodyPr>
          <a:lstStyle>
            <a:lvl1pPr marL="0" indent="0" algn="l" defTabSz="742950" rtl="0" eaLnBrk="1" latinLnBrk="0" hangingPunct="1">
              <a:lnSpc>
                <a:spcPct val="90000"/>
              </a:lnSpc>
              <a:spcBef>
                <a:spcPts val="813"/>
              </a:spcBef>
              <a:buFont typeface="Arial" panose="020B0604020202020204" pitchFamily="34" charset="0"/>
              <a:buNone/>
              <a:defRPr lang="en-AU" sz="1000" kern="1200" dirty="0">
                <a:solidFill>
                  <a:schemeClr val="tx1"/>
                </a:solidFill>
                <a:latin typeface="Roboto Medium" panose="02000000000000000000" pitchFamily="2" charset="0"/>
                <a:ea typeface="Roboto Medium" panose="02000000000000000000" pitchFamily="2" charset="0"/>
                <a:cs typeface="+mn-cs"/>
              </a:defRPr>
            </a:lvl1pPr>
          </a:lstStyle>
          <a:p>
            <a:pPr lvl="0"/>
            <a:r>
              <a:rPr lang="en-US"/>
              <a:t>Draft</a:t>
            </a:r>
            <a:endParaRPr lang="en-AU"/>
          </a:p>
        </p:txBody>
      </p:sp>
      <p:pic>
        <p:nvPicPr>
          <p:cNvPr id="17" name="Picture 16" descr="A group of people walking down a runway&#10;&#10;Description generated with very high confidence">
            <a:extLst>
              <a:ext uri="{FF2B5EF4-FFF2-40B4-BE49-F238E27FC236}">
                <a16:creationId xmlns:a16="http://schemas.microsoft.com/office/drawing/2014/main" id="{49B85FA2-BD2A-4347-8D43-5DAE5F2981A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6160291" y="-1"/>
            <a:ext cx="3745708" cy="6858001"/>
          </a:xfrm>
          <a:prstGeom prst="rect">
            <a:avLst/>
          </a:prstGeom>
        </p:spPr>
      </p:pic>
    </p:spTree>
    <p:extLst>
      <p:ext uri="{BB962C8B-B14F-4D97-AF65-F5344CB8AC3E}">
        <p14:creationId xmlns:p14="http://schemas.microsoft.com/office/powerpoint/2010/main" val="2390035228"/>
      </p:ext>
    </p:extLst>
  </p:cSld>
  <p:clrMapOvr>
    <a:masterClrMapping/>
  </p:clrMapOvr>
  <p:extLst>
    <p:ext uri="{DCECCB84-F9BA-43D5-87BE-67443E8EF086}">
      <p15:sldGuideLst xmlns:p15="http://schemas.microsoft.com/office/powerpoint/2012/main">
        <p15:guide id="1" orient="horz" pos="2772">
          <p15:clr>
            <a:srgbClr val="FBAE40"/>
          </p15:clr>
        </p15:guide>
        <p15:guide id="2" orient="horz" pos="2388">
          <p15:clr>
            <a:srgbClr val="FBAE40"/>
          </p15:clr>
        </p15:guide>
        <p15:guide id="3" orient="horz" pos="500">
          <p15:clr>
            <a:srgbClr val="FBAE40"/>
          </p15:clr>
        </p15:guide>
        <p15:guide id="4" orient="horz" pos="38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32E88BA-8E85-4B15-A455-AB2DA9197102}"/>
              </a:ext>
            </a:extLst>
          </p:cNvPr>
          <p:cNvSpPr/>
          <p:nvPr/>
        </p:nvSpPr>
        <p:spPr>
          <a:xfrm>
            <a:off x="5247086" y="0"/>
            <a:ext cx="465891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63"/>
          </a:p>
        </p:txBody>
      </p:sp>
      <p:sp>
        <p:nvSpPr>
          <p:cNvPr id="15" name="Content Placeholder 2">
            <a:extLst>
              <a:ext uri="{FF2B5EF4-FFF2-40B4-BE49-F238E27FC236}">
                <a16:creationId xmlns:a16="http://schemas.microsoft.com/office/drawing/2014/main" id="{91A1314E-A5C6-4332-BDCA-B1CBB15B5346}"/>
              </a:ext>
            </a:extLst>
          </p:cNvPr>
          <p:cNvSpPr>
            <a:spLocks noGrp="1"/>
          </p:cNvSpPr>
          <p:nvPr>
            <p:ph idx="1" hasCustomPrompt="1"/>
          </p:nvPr>
        </p:nvSpPr>
        <p:spPr>
          <a:xfrm>
            <a:off x="972544" y="453373"/>
            <a:ext cx="3332955" cy="823911"/>
          </a:xfrm>
          <a:prstGeom prst="rect">
            <a:avLst/>
          </a:prstGeom>
        </p:spPr>
        <p:txBody>
          <a:bodyPr lIns="0" tIns="0">
            <a:noAutofit/>
          </a:bodyPr>
          <a:lstStyle>
            <a:lvl1pPr marL="0" indent="0">
              <a:lnSpc>
                <a:spcPct val="100000"/>
              </a:lnSpc>
              <a:buFontTx/>
              <a:buNone/>
              <a:defRPr sz="2400"/>
            </a:lvl1pPr>
            <a:lvl2pPr marL="371475" indent="0">
              <a:buFontTx/>
              <a:buNone/>
              <a:defRPr/>
            </a:lvl2pPr>
            <a:lvl3pPr marL="742950" indent="0">
              <a:buFontTx/>
              <a:buNone/>
              <a:defRPr/>
            </a:lvl3pPr>
            <a:lvl4pPr marL="1114425" indent="0">
              <a:buFontTx/>
              <a:buNone/>
              <a:defRPr/>
            </a:lvl4pPr>
            <a:lvl5pPr marL="1485900" indent="0">
              <a:buFontTx/>
              <a:buNone/>
              <a:defRPr/>
            </a:lvl5pPr>
          </a:lstStyle>
          <a:p>
            <a:pPr lvl="0"/>
            <a:r>
              <a:rPr lang="en-AU"/>
              <a:t>Insert heading</a:t>
            </a:r>
          </a:p>
          <a:p>
            <a:pPr lvl="0"/>
            <a:r>
              <a:rPr lang="en-AU"/>
              <a:t>(max two lines) </a:t>
            </a:r>
            <a:endParaRPr lang="en-US"/>
          </a:p>
        </p:txBody>
      </p:sp>
      <p:sp>
        <p:nvSpPr>
          <p:cNvPr id="16" name="Content Placeholder 2">
            <a:extLst>
              <a:ext uri="{FF2B5EF4-FFF2-40B4-BE49-F238E27FC236}">
                <a16:creationId xmlns:a16="http://schemas.microsoft.com/office/drawing/2014/main" id="{55D0C5FE-2E2D-435E-84E4-65942ED2DD13}"/>
              </a:ext>
            </a:extLst>
          </p:cNvPr>
          <p:cNvSpPr>
            <a:spLocks noGrp="1"/>
          </p:cNvSpPr>
          <p:nvPr>
            <p:ph idx="17" hasCustomPrompt="1"/>
          </p:nvPr>
        </p:nvSpPr>
        <p:spPr>
          <a:xfrm>
            <a:off x="5591475" y="453373"/>
            <a:ext cx="3332955" cy="823911"/>
          </a:xfrm>
          <a:prstGeom prst="rect">
            <a:avLst/>
          </a:prstGeom>
        </p:spPr>
        <p:txBody>
          <a:bodyPr lIns="0" tIns="0">
            <a:noAutofit/>
          </a:bodyPr>
          <a:lstStyle>
            <a:lvl1pPr marL="0" indent="0">
              <a:lnSpc>
                <a:spcPct val="100000"/>
              </a:lnSpc>
              <a:buFontTx/>
              <a:buNone/>
              <a:defRPr sz="2400"/>
            </a:lvl1pPr>
            <a:lvl2pPr marL="371475" indent="0">
              <a:buFontTx/>
              <a:buNone/>
              <a:defRPr/>
            </a:lvl2pPr>
            <a:lvl3pPr marL="742950" indent="0">
              <a:buFontTx/>
              <a:buNone/>
              <a:defRPr/>
            </a:lvl3pPr>
            <a:lvl4pPr marL="1114425" indent="0">
              <a:buFontTx/>
              <a:buNone/>
              <a:defRPr/>
            </a:lvl4pPr>
            <a:lvl5pPr marL="1485900" indent="0">
              <a:buFontTx/>
              <a:buNone/>
              <a:defRPr/>
            </a:lvl5pPr>
          </a:lstStyle>
          <a:p>
            <a:pPr lvl="0"/>
            <a:r>
              <a:rPr lang="en-AU"/>
              <a:t>Insert heading </a:t>
            </a:r>
          </a:p>
          <a:p>
            <a:pPr lvl="0"/>
            <a:r>
              <a:rPr lang="en-AU"/>
              <a:t>(max two lines)</a:t>
            </a:r>
            <a:endParaRPr lang="en-US"/>
          </a:p>
        </p:txBody>
      </p:sp>
      <p:sp>
        <p:nvSpPr>
          <p:cNvPr id="7" name="Content Placeholder 2">
            <a:extLst>
              <a:ext uri="{FF2B5EF4-FFF2-40B4-BE49-F238E27FC236}">
                <a16:creationId xmlns:a16="http://schemas.microsoft.com/office/drawing/2014/main" id="{6452C788-4AE3-45B8-A257-DBDB3BF0D530}"/>
              </a:ext>
            </a:extLst>
          </p:cNvPr>
          <p:cNvSpPr>
            <a:spLocks noGrp="1"/>
          </p:cNvSpPr>
          <p:nvPr>
            <p:ph idx="10" hasCustomPrompt="1"/>
          </p:nvPr>
        </p:nvSpPr>
        <p:spPr>
          <a:xfrm>
            <a:off x="972543" y="1693088"/>
            <a:ext cx="3332955" cy="4328300"/>
          </a:xfrm>
          <a:prstGeom prst="rect">
            <a:avLst/>
          </a:prstGeom>
        </p:spPr>
        <p:txBody>
          <a:bodyPr lIns="0" tIns="0">
            <a:noAutofit/>
          </a:bodyPr>
          <a:lstStyle>
            <a:lvl1pPr marL="0" indent="0">
              <a:lnSpc>
                <a:spcPct val="100000"/>
              </a:lnSpc>
              <a:buSzPct val="100000"/>
              <a:buFontTx/>
              <a:buNone/>
              <a:defRPr sz="1400">
                <a:latin typeface="+mj-lt"/>
              </a:defRPr>
            </a:lvl1pPr>
            <a:lvl2pPr marL="371475" indent="0">
              <a:buFont typeface="+mj-lt"/>
              <a:buNone/>
              <a:defRPr sz="1200">
                <a:latin typeface="+mj-lt"/>
              </a:defRPr>
            </a:lvl2pPr>
            <a:lvl3pPr marL="742950" indent="0">
              <a:buFontTx/>
              <a:buNone/>
              <a:defRPr/>
            </a:lvl3pPr>
            <a:lvl4pPr marL="1114425" indent="0">
              <a:buFontTx/>
              <a:buNone/>
              <a:defRPr/>
            </a:lvl4pPr>
            <a:lvl5pPr marL="1485900" indent="0">
              <a:buFontTx/>
              <a:buNone/>
              <a:defRPr/>
            </a:lvl5pPr>
          </a:lstStyle>
          <a:p>
            <a:pPr lvl="0"/>
            <a:r>
              <a:rPr lang="en-AU"/>
              <a:t>Insert content here</a:t>
            </a:r>
          </a:p>
        </p:txBody>
      </p:sp>
      <p:sp>
        <p:nvSpPr>
          <p:cNvPr id="8" name="Content Placeholder 2">
            <a:extLst>
              <a:ext uri="{FF2B5EF4-FFF2-40B4-BE49-F238E27FC236}">
                <a16:creationId xmlns:a16="http://schemas.microsoft.com/office/drawing/2014/main" id="{81B719A7-8797-417F-93B0-DC54B541CC8A}"/>
              </a:ext>
            </a:extLst>
          </p:cNvPr>
          <p:cNvSpPr>
            <a:spLocks noGrp="1"/>
          </p:cNvSpPr>
          <p:nvPr>
            <p:ph idx="18" hasCustomPrompt="1"/>
          </p:nvPr>
        </p:nvSpPr>
        <p:spPr>
          <a:xfrm>
            <a:off x="5591475" y="1693088"/>
            <a:ext cx="3332955" cy="4328300"/>
          </a:xfrm>
          <a:prstGeom prst="rect">
            <a:avLst/>
          </a:prstGeom>
        </p:spPr>
        <p:txBody>
          <a:bodyPr lIns="0" tIns="0">
            <a:noAutofit/>
          </a:bodyPr>
          <a:lstStyle>
            <a:lvl1pPr marL="0" indent="0">
              <a:lnSpc>
                <a:spcPct val="100000"/>
              </a:lnSpc>
              <a:buSzPct val="100000"/>
              <a:buFontTx/>
              <a:buNone/>
              <a:defRPr sz="1400">
                <a:latin typeface="+mj-lt"/>
              </a:defRPr>
            </a:lvl1pPr>
            <a:lvl2pPr marL="371475" indent="0">
              <a:buFont typeface="+mj-lt"/>
              <a:buNone/>
              <a:defRPr sz="1200">
                <a:latin typeface="+mj-lt"/>
              </a:defRPr>
            </a:lvl2pPr>
            <a:lvl3pPr marL="742950" indent="0">
              <a:buFontTx/>
              <a:buNone/>
              <a:defRPr/>
            </a:lvl3pPr>
            <a:lvl4pPr marL="1114425" indent="0">
              <a:buFontTx/>
              <a:buNone/>
              <a:defRPr/>
            </a:lvl4pPr>
            <a:lvl5pPr marL="1485900" indent="0">
              <a:buFontTx/>
              <a:buNone/>
              <a:defRPr/>
            </a:lvl5pPr>
          </a:lstStyle>
          <a:p>
            <a:pPr lvl="0"/>
            <a:r>
              <a:rPr lang="en-AU"/>
              <a:t>Insert content here</a:t>
            </a:r>
          </a:p>
        </p:txBody>
      </p:sp>
    </p:spTree>
    <p:extLst>
      <p:ext uri="{BB962C8B-B14F-4D97-AF65-F5344CB8AC3E}">
        <p14:creationId xmlns:p14="http://schemas.microsoft.com/office/powerpoint/2010/main" val="29514222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and side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41D205D-50AB-4BC3-8C7E-8CE8315B0DF1}"/>
              </a:ext>
            </a:extLst>
          </p:cNvPr>
          <p:cNvSpPr/>
          <p:nvPr/>
        </p:nvSpPr>
        <p:spPr>
          <a:xfrm>
            <a:off x="7315994" y="-2"/>
            <a:ext cx="2590005" cy="68580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63"/>
          </a:p>
        </p:txBody>
      </p:sp>
      <p:sp>
        <p:nvSpPr>
          <p:cNvPr id="14" name="Oval 13">
            <a:extLst>
              <a:ext uri="{FF2B5EF4-FFF2-40B4-BE49-F238E27FC236}">
                <a16:creationId xmlns:a16="http://schemas.microsoft.com/office/drawing/2014/main" id="{E68AE9D4-D0C0-4BC8-B24B-7C2ACFFE6873}"/>
              </a:ext>
            </a:extLst>
          </p:cNvPr>
          <p:cNvSpPr/>
          <p:nvPr/>
        </p:nvSpPr>
        <p:spPr>
          <a:xfrm>
            <a:off x="9488091" y="500063"/>
            <a:ext cx="871934" cy="86274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63"/>
          </a:p>
        </p:txBody>
      </p:sp>
      <p:sp>
        <p:nvSpPr>
          <p:cNvPr id="10" name="Content Placeholder 2">
            <a:extLst>
              <a:ext uri="{FF2B5EF4-FFF2-40B4-BE49-F238E27FC236}">
                <a16:creationId xmlns:a16="http://schemas.microsoft.com/office/drawing/2014/main" id="{20C9FCB9-4EEA-45E0-8FEE-C38C06AAAF4A}"/>
              </a:ext>
            </a:extLst>
          </p:cNvPr>
          <p:cNvSpPr>
            <a:spLocks noGrp="1"/>
          </p:cNvSpPr>
          <p:nvPr>
            <p:ph idx="1" hasCustomPrompt="1"/>
          </p:nvPr>
        </p:nvSpPr>
        <p:spPr>
          <a:xfrm>
            <a:off x="972543" y="453373"/>
            <a:ext cx="5639196" cy="830681"/>
          </a:xfrm>
          <a:prstGeom prst="rect">
            <a:avLst/>
          </a:prstGeom>
        </p:spPr>
        <p:txBody>
          <a:bodyPr lIns="0" tIns="0">
            <a:noAutofit/>
          </a:bodyPr>
          <a:lstStyle>
            <a:lvl1pPr marL="0" indent="0">
              <a:lnSpc>
                <a:spcPct val="100000"/>
              </a:lnSpc>
              <a:buFontTx/>
              <a:buNone/>
              <a:defRPr sz="2400"/>
            </a:lvl1pPr>
            <a:lvl2pPr marL="371475" indent="0">
              <a:buFontTx/>
              <a:buNone/>
              <a:defRPr/>
            </a:lvl2pPr>
            <a:lvl3pPr marL="742950" indent="0">
              <a:buFontTx/>
              <a:buNone/>
              <a:defRPr/>
            </a:lvl3pPr>
            <a:lvl4pPr marL="1114425" indent="0">
              <a:buFontTx/>
              <a:buNone/>
              <a:defRPr/>
            </a:lvl4pPr>
            <a:lvl5pPr marL="1485900" indent="0">
              <a:buFontTx/>
              <a:buNone/>
              <a:defRPr/>
            </a:lvl5pPr>
          </a:lstStyle>
          <a:p>
            <a:pPr lvl="0"/>
            <a:r>
              <a:rPr lang="en-AU"/>
              <a:t>Insert page heading (max two lines)</a:t>
            </a:r>
            <a:endParaRPr lang="en-US"/>
          </a:p>
        </p:txBody>
      </p:sp>
      <p:sp>
        <p:nvSpPr>
          <p:cNvPr id="6" name="Content Placeholder 2">
            <a:extLst>
              <a:ext uri="{FF2B5EF4-FFF2-40B4-BE49-F238E27FC236}">
                <a16:creationId xmlns:a16="http://schemas.microsoft.com/office/drawing/2014/main" id="{B13C80A3-2855-45CB-BEC7-088E2B5DA7D3}"/>
              </a:ext>
            </a:extLst>
          </p:cNvPr>
          <p:cNvSpPr>
            <a:spLocks noGrp="1"/>
          </p:cNvSpPr>
          <p:nvPr>
            <p:ph idx="10" hasCustomPrompt="1"/>
          </p:nvPr>
        </p:nvSpPr>
        <p:spPr>
          <a:xfrm>
            <a:off x="972543" y="1693088"/>
            <a:ext cx="5639196" cy="4328300"/>
          </a:xfrm>
          <a:prstGeom prst="rect">
            <a:avLst/>
          </a:prstGeom>
        </p:spPr>
        <p:txBody>
          <a:bodyPr lIns="0" tIns="0">
            <a:noAutofit/>
          </a:bodyPr>
          <a:lstStyle>
            <a:lvl1pPr marL="0" indent="0">
              <a:lnSpc>
                <a:spcPct val="100000"/>
              </a:lnSpc>
              <a:buSzPct val="100000"/>
              <a:buFontTx/>
              <a:buNone/>
              <a:defRPr sz="1400">
                <a:latin typeface="+mj-lt"/>
              </a:defRPr>
            </a:lvl1pPr>
            <a:lvl2pPr marL="371475" indent="0">
              <a:buFont typeface="+mj-lt"/>
              <a:buNone/>
              <a:defRPr sz="1200">
                <a:latin typeface="+mj-lt"/>
              </a:defRPr>
            </a:lvl2pPr>
            <a:lvl3pPr marL="742950" indent="0">
              <a:buFontTx/>
              <a:buNone/>
              <a:defRPr/>
            </a:lvl3pPr>
            <a:lvl4pPr marL="1114425" indent="0">
              <a:buFontTx/>
              <a:buNone/>
              <a:defRPr/>
            </a:lvl4pPr>
            <a:lvl5pPr marL="1485900" indent="0">
              <a:buFontTx/>
              <a:buNone/>
              <a:defRPr/>
            </a:lvl5pPr>
          </a:lstStyle>
          <a:p>
            <a:pPr lvl="0"/>
            <a:r>
              <a:rPr lang="en-AU"/>
              <a:t>Insert content here</a:t>
            </a:r>
          </a:p>
        </p:txBody>
      </p:sp>
    </p:spTree>
    <p:extLst>
      <p:ext uri="{BB962C8B-B14F-4D97-AF65-F5344CB8AC3E}">
        <p14:creationId xmlns:p14="http://schemas.microsoft.com/office/powerpoint/2010/main" val="29007377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hree panel sideba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90E6764-15AC-4B75-BEB7-54DF176242D1}"/>
              </a:ext>
            </a:extLst>
          </p:cNvPr>
          <p:cNvSpPr/>
          <p:nvPr/>
        </p:nvSpPr>
        <p:spPr>
          <a:xfrm>
            <a:off x="601712" y="3835401"/>
            <a:ext cx="9304285" cy="302259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63"/>
          </a:p>
        </p:txBody>
      </p:sp>
      <p:sp>
        <p:nvSpPr>
          <p:cNvPr id="12" name="Rectangle 11">
            <a:extLst>
              <a:ext uri="{FF2B5EF4-FFF2-40B4-BE49-F238E27FC236}">
                <a16:creationId xmlns:a16="http://schemas.microsoft.com/office/drawing/2014/main" id="{041D205D-50AB-4BC3-8C7E-8CE8315B0DF1}"/>
              </a:ext>
            </a:extLst>
          </p:cNvPr>
          <p:cNvSpPr/>
          <p:nvPr/>
        </p:nvSpPr>
        <p:spPr>
          <a:xfrm>
            <a:off x="7315994" y="-2"/>
            <a:ext cx="2590005" cy="68580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63"/>
          </a:p>
        </p:txBody>
      </p:sp>
      <p:sp>
        <p:nvSpPr>
          <p:cNvPr id="13" name="Oval 12">
            <a:extLst>
              <a:ext uri="{FF2B5EF4-FFF2-40B4-BE49-F238E27FC236}">
                <a16:creationId xmlns:a16="http://schemas.microsoft.com/office/drawing/2014/main" id="{04C9FB2C-12FC-4DF6-BDAD-D060EB7C9676}"/>
              </a:ext>
            </a:extLst>
          </p:cNvPr>
          <p:cNvSpPr/>
          <p:nvPr/>
        </p:nvSpPr>
        <p:spPr>
          <a:xfrm>
            <a:off x="9488091" y="500063"/>
            <a:ext cx="871934" cy="86274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63"/>
          </a:p>
        </p:txBody>
      </p:sp>
      <p:sp>
        <p:nvSpPr>
          <p:cNvPr id="17" name="Content Placeholder 2">
            <a:extLst>
              <a:ext uri="{FF2B5EF4-FFF2-40B4-BE49-F238E27FC236}">
                <a16:creationId xmlns:a16="http://schemas.microsoft.com/office/drawing/2014/main" id="{21DD1CA1-99C2-4EA7-A8B9-5296D0B5EA8B}"/>
              </a:ext>
            </a:extLst>
          </p:cNvPr>
          <p:cNvSpPr>
            <a:spLocks noGrp="1"/>
          </p:cNvSpPr>
          <p:nvPr>
            <p:ph idx="1" hasCustomPrompt="1"/>
          </p:nvPr>
        </p:nvSpPr>
        <p:spPr>
          <a:xfrm>
            <a:off x="972543" y="453373"/>
            <a:ext cx="5639196" cy="830681"/>
          </a:xfrm>
          <a:prstGeom prst="rect">
            <a:avLst/>
          </a:prstGeom>
        </p:spPr>
        <p:txBody>
          <a:bodyPr lIns="0" tIns="0">
            <a:noAutofit/>
          </a:bodyPr>
          <a:lstStyle>
            <a:lvl1pPr marL="0" indent="0">
              <a:lnSpc>
                <a:spcPct val="100000"/>
              </a:lnSpc>
              <a:buFontTx/>
              <a:buNone/>
              <a:defRPr sz="2400"/>
            </a:lvl1pPr>
            <a:lvl2pPr marL="371475" indent="0">
              <a:buFontTx/>
              <a:buNone/>
              <a:defRPr/>
            </a:lvl2pPr>
            <a:lvl3pPr marL="742950" indent="0">
              <a:buFontTx/>
              <a:buNone/>
              <a:defRPr/>
            </a:lvl3pPr>
            <a:lvl4pPr marL="1114425" indent="0">
              <a:buFontTx/>
              <a:buNone/>
              <a:defRPr/>
            </a:lvl4pPr>
            <a:lvl5pPr marL="1485900" indent="0">
              <a:buFontTx/>
              <a:buNone/>
              <a:defRPr/>
            </a:lvl5pPr>
          </a:lstStyle>
          <a:p>
            <a:pPr lvl="0"/>
            <a:r>
              <a:rPr lang="en-AU"/>
              <a:t>Insert page heading (max two lines)</a:t>
            </a:r>
            <a:endParaRPr lang="en-US"/>
          </a:p>
        </p:txBody>
      </p:sp>
      <p:sp>
        <p:nvSpPr>
          <p:cNvPr id="9" name="Freeform 5">
            <a:extLst>
              <a:ext uri="{FF2B5EF4-FFF2-40B4-BE49-F238E27FC236}">
                <a16:creationId xmlns:a16="http://schemas.microsoft.com/office/drawing/2014/main" id="{66EC3822-E11B-4B05-9A9B-41EA59D23B44}"/>
              </a:ext>
            </a:extLst>
          </p:cNvPr>
          <p:cNvSpPr>
            <a:spLocks noEditPoints="1"/>
          </p:cNvSpPr>
          <p:nvPr/>
        </p:nvSpPr>
        <p:spPr bwMode="auto">
          <a:xfrm>
            <a:off x="981075" y="6197254"/>
            <a:ext cx="1422400" cy="360045"/>
          </a:xfrm>
          <a:custGeom>
            <a:avLst/>
            <a:gdLst>
              <a:gd name="T0" fmla="*/ 2610 w 7680"/>
              <a:gd name="T1" fmla="*/ 614 h 1944"/>
              <a:gd name="T2" fmla="*/ 2335 w 7680"/>
              <a:gd name="T3" fmla="*/ 1134 h 1944"/>
              <a:gd name="T4" fmla="*/ 2792 w 7680"/>
              <a:gd name="T5" fmla="*/ 1241 h 1944"/>
              <a:gd name="T6" fmla="*/ 2938 w 7680"/>
              <a:gd name="T7" fmla="*/ 627 h 1944"/>
              <a:gd name="T8" fmla="*/ 2445 w 7680"/>
              <a:gd name="T9" fmla="*/ 916 h 1944"/>
              <a:gd name="T10" fmla="*/ 2747 w 7680"/>
              <a:gd name="T11" fmla="*/ 791 h 1944"/>
              <a:gd name="T12" fmla="*/ 2704 w 7680"/>
              <a:gd name="T13" fmla="*/ 1165 h 1944"/>
              <a:gd name="T14" fmla="*/ 3472 w 7680"/>
              <a:gd name="T15" fmla="*/ 1126 h 1944"/>
              <a:gd name="T16" fmla="*/ 3196 w 7680"/>
              <a:gd name="T17" fmla="*/ 1047 h 1944"/>
              <a:gd name="T18" fmla="*/ 3074 w 7680"/>
              <a:gd name="T19" fmla="*/ 1145 h 1944"/>
              <a:gd name="T20" fmla="*/ 3502 w 7680"/>
              <a:gd name="T21" fmla="*/ 1238 h 1944"/>
              <a:gd name="T22" fmla="*/ 4441 w 7680"/>
              <a:gd name="T23" fmla="*/ 1176 h 1944"/>
              <a:gd name="T24" fmla="*/ 4244 w 7680"/>
              <a:gd name="T25" fmla="*/ 648 h 1944"/>
              <a:gd name="T26" fmla="*/ 3778 w 7680"/>
              <a:gd name="T27" fmla="*/ 818 h 1944"/>
              <a:gd name="T28" fmla="*/ 3974 w 7680"/>
              <a:gd name="T29" fmla="*/ 761 h 1944"/>
              <a:gd name="T30" fmla="*/ 4223 w 7680"/>
              <a:gd name="T31" fmla="*/ 854 h 1944"/>
              <a:gd name="T32" fmla="*/ 3773 w 7680"/>
              <a:gd name="T33" fmla="*/ 1018 h 1944"/>
              <a:gd name="T34" fmla="*/ 4019 w 7680"/>
              <a:gd name="T35" fmla="*/ 1311 h 1944"/>
              <a:gd name="T36" fmla="*/ 4388 w 7680"/>
              <a:gd name="T37" fmla="*/ 1298 h 1944"/>
              <a:gd name="T38" fmla="*/ 4187 w 7680"/>
              <a:gd name="T39" fmla="*/ 1119 h 1944"/>
              <a:gd name="T40" fmla="*/ 3898 w 7680"/>
              <a:gd name="T41" fmla="*/ 1114 h 1944"/>
              <a:gd name="T42" fmla="*/ 4223 w 7680"/>
              <a:gd name="T43" fmla="*/ 1012 h 1944"/>
              <a:gd name="T44" fmla="*/ 4553 w 7680"/>
              <a:gd name="T45" fmla="*/ 627 h 1944"/>
              <a:gd name="T46" fmla="*/ 4694 w 7680"/>
              <a:gd name="T47" fmla="*/ 871 h 1944"/>
              <a:gd name="T48" fmla="*/ 4974 w 7680"/>
              <a:gd name="T49" fmla="*/ 801 h 1944"/>
              <a:gd name="T50" fmla="*/ 5154 w 7680"/>
              <a:gd name="T51" fmla="*/ 928 h 1944"/>
              <a:gd name="T52" fmla="*/ 5470 w 7680"/>
              <a:gd name="T53" fmla="*/ 624 h 1944"/>
              <a:gd name="T54" fmla="*/ 5206 w 7680"/>
              <a:gd name="T55" fmla="*/ 627 h 1944"/>
              <a:gd name="T56" fmla="*/ 5335 w 7680"/>
              <a:gd name="T57" fmla="*/ 1196 h 1944"/>
              <a:gd name="T58" fmla="*/ 5618 w 7680"/>
              <a:gd name="T59" fmla="*/ 1171 h 1944"/>
              <a:gd name="T60" fmla="*/ 5618 w 7680"/>
              <a:gd name="T61" fmla="*/ 744 h 1944"/>
              <a:gd name="T62" fmla="*/ 6438 w 7680"/>
              <a:gd name="T63" fmla="*/ 1069 h 1944"/>
              <a:gd name="T64" fmla="*/ 6153 w 7680"/>
              <a:gd name="T65" fmla="*/ 1109 h 1944"/>
              <a:gd name="T66" fmla="*/ 5982 w 7680"/>
              <a:gd name="T67" fmla="*/ 1028 h 1944"/>
              <a:gd name="T68" fmla="*/ 6405 w 7680"/>
              <a:gd name="T69" fmla="*/ 1265 h 1944"/>
              <a:gd name="T70" fmla="*/ 6587 w 7680"/>
              <a:gd name="T71" fmla="*/ 629 h 1944"/>
              <a:gd name="T72" fmla="*/ 7159 w 7680"/>
              <a:gd name="T73" fmla="*/ 645 h 1944"/>
              <a:gd name="T74" fmla="*/ 6845 w 7680"/>
              <a:gd name="T75" fmla="*/ 631 h 1944"/>
              <a:gd name="T76" fmla="*/ 6859 w 7680"/>
              <a:gd name="T77" fmla="*/ 925 h 1944"/>
              <a:gd name="T78" fmla="*/ 7074 w 7680"/>
              <a:gd name="T79" fmla="*/ 767 h 1944"/>
              <a:gd name="T80" fmla="*/ 7271 w 7680"/>
              <a:gd name="T81" fmla="*/ 925 h 1944"/>
              <a:gd name="T82" fmla="*/ 7505 w 7680"/>
              <a:gd name="T83" fmla="*/ 789 h 1944"/>
              <a:gd name="T84" fmla="*/ 7680 w 7680"/>
              <a:gd name="T85" fmla="*/ 883 h 1944"/>
              <a:gd name="T86" fmla="*/ 5732 w 7680"/>
              <a:gd name="T87" fmla="*/ 631 h 1944"/>
              <a:gd name="T88" fmla="*/ 5804 w 7680"/>
              <a:gd name="T89" fmla="*/ 368 h 1944"/>
              <a:gd name="T90" fmla="*/ 5864 w 7680"/>
              <a:gd name="T91" fmla="*/ 514 h 1944"/>
              <a:gd name="T92" fmla="*/ 679 w 7680"/>
              <a:gd name="T93" fmla="*/ 43 h 1944"/>
              <a:gd name="T94" fmla="*/ 19 w 7680"/>
              <a:gd name="T95" fmla="*/ 772 h 1944"/>
              <a:gd name="T96" fmla="*/ 316 w 7680"/>
              <a:gd name="T97" fmla="*/ 1684 h 1944"/>
              <a:gd name="T98" fmla="*/ 1254 w 7680"/>
              <a:gd name="T99" fmla="*/ 1892 h 1944"/>
              <a:gd name="T100" fmla="*/ 1916 w 7680"/>
              <a:gd name="T101" fmla="*/ 1162 h 1944"/>
              <a:gd name="T102" fmla="*/ 1618 w 7680"/>
              <a:gd name="T103" fmla="*/ 251 h 1944"/>
              <a:gd name="T104" fmla="*/ 631 w 7680"/>
              <a:gd name="T105" fmla="*/ 1103 h 1944"/>
              <a:gd name="T106" fmla="*/ 1002 w 7680"/>
              <a:gd name="T107" fmla="*/ 607 h 1944"/>
              <a:gd name="T108" fmla="*/ 1270 w 7680"/>
              <a:gd name="T109" fmla="*/ 1167 h 1944"/>
              <a:gd name="T110" fmla="*/ 1438 w 7680"/>
              <a:gd name="T111" fmla="*/ 1619 h 1944"/>
              <a:gd name="T112" fmla="*/ 1278 w 7680"/>
              <a:gd name="T113" fmla="*/ 1351 h 1944"/>
              <a:gd name="T114" fmla="*/ 1588 w 7680"/>
              <a:gd name="T115" fmla="*/ 1337 h 1944"/>
              <a:gd name="T116" fmla="*/ 1457 w 7680"/>
              <a:gd name="T117" fmla="*/ 1619 h 1944"/>
              <a:gd name="T118" fmla="*/ 1703 w 7680"/>
              <a:gd name="T119" fmla="*/ 1836 h 1944"/>
              <a:gd name="T120" fmla="*/ 1890 w 7680"/>
              <a:gd name="T121" fmla="*/ 1923 h 1944"/>
              <a:gd name="T122" fmla="*/ 1880 w 7680"/>
              <a:gd name="T123" fmla="*/ 1717 h 1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80" h="1944">
                <a:moveTo>
                  <a:pt x="2938" y="627"/>
                </a:moveTo>
                <a:lnTo>
                  <a:pt x="2826" y="627"/>
                </a:lnTo>
                <a:lnTo>
                  <a:pt x="2826" y="627"/>
                </a:lnTo>
                <a:lnTo>
                  <a:pt x="2819" y="627"/>
                </a:lnTo>
                <a:lnTo>
                  <a:pt x="2818" y="629"/>
                </a:lnTo>
                <a:lnTo>
                  <a:pt x="2816" y="633"/>
                </a:lnTo>
                <a:lnTo>
                  <a:pt x="2804" y="681"/>
                </a:lnTo>
                <a:lnTo>
                  <a:pt x="2804" y="681"/>
                </a:lnTo>
                <a:lnTo>
                  <a:pt x="2801" y="684"/>
                </a:lnTo>
                <a:lnTo>
                  <a:pt x="2797" y="686"/>
                </a:lnTo>
                <a:lnTo>
                  <a:pt x="2794" y="686"/>
                </a:lnTo>
                <a:lnTo>
                  <a:pt x="2789" y="682"/>
                </a:lnTo>
                <a:lnTo>
                  <a:pt x="2789" y="682"/>
                </a:lnTo>
                <a:lnTo>
                  <a:pt x="2773" y="669"/>
                </a:lnTo>
                <a:lnTo>
                  <a:pt x="2756" y="657"/>
                </a:lnTo>
                <a:lnTo>
                  <a:pt x="2734" y="645"/>
                </a:lnTo>
                <a:lnTo>
                  <a:pt x="2711" y="634"/>
                </a:lnTo>
                <a:lnTo>
                  <a:pt x="2687" y="626"/>
                </a:lnTo>
                <a:lnTo>
                  <a:pt x="2661" y="619"/>
                </a:lnTo>
                <a:lnTo>
                  <a:pt x="2636" y="615"/>
                </a:lnTo>
                <a:lnTo>
                  <a:pt x="2610" y="614"/>
                </a:lnTo>
                <a:lnTo>
                  <a:pt x="2610" y="614"/>
                </a:lnTo>
                <a:lnTo>
                  <a:pt x="2575" y="615"/>
                </a:lnTo>
                <a:lnTo>
                  <a:pt x="2541" y="620"/>
                </a:lnTo>
                <a:lnTo>
                  <a:pt x="2510" y="627"/>
                </a:lnTo>
                <a:lnTo>
                  <a:pt x="2481" y="639"/>
                </a:lnTo>
                <a:lnTo>
                  <a:pt x="2453" y="653"/>
                </a:lnTo>
                <a:lnTo>
                  <a:pt x="2428" y="669"/>
                </a:lnTo>
                <a:lnTo>
                  <a:pt x="2404" y="688"/>
                </a:lnTo>
                <a:lnTo>
                  <a:pt x="2383" y="710"/>
                </a:lnTo>
                <a:lnTo>
                  <a:pt x="2364" y="734"/>
                </a:lnTo>
                <a:lnTo>
                  <a:pt x="2347" y="761"/>
                </a:lnTo>
                <a:lnTo>
                  <a:pt x="2333" y="789"/>
                </a:lnTo>
                <a:lnTo>
                  <a:pt x="2321" y="820"/>
                </a:lnTo>
                <a:lnTo>
                  <a:pt x="2311" y="853"/>
                </a:lnTo>
                <a:lnTo>
                  <a:pt x="2304" y="889"/>
                </a:lnTo>
                <a:lnTo>
                  <a:pt x="2301" y="925"/>
                </a:lnTo>
                <a:lnTo>
                  <a:pt x="2299" y="963"/>
                </a:lnTo>
                <a:lnTo>
                  <a:pt x="2299" y="963"/>
                </a:lnTo>
                <a:lnTo>
                  <a:pt x="2301" y="1000"/>
                </a:lnTo>
                <a:lnTo>
                  <a:pt x="2306" y="1036"/>
                </a:lnTo>
                <a:lnTo>
                  <a:pt x="2313" y="1071"/>
                </a:lnTo>
                <a:lnTo>
                  <a:pt x="2321" y="1103"/>
                </a:lnTo>
                <a:lnTo>
                  <a:pt x="2335" y="1134"/>
                </a:lnTo>
                <a:lnTo>
                  <a:pt x="2349" y="1164"/>
                </a:lnTo>
                <a:lnTo>
                  <a:pt x="2366" y="1189"/>
                </a:lnTo>
                <a:lnTo>
                  <a:pt x="2385" y="1215"/>
                </a:lnTo>
                <a:lnTo>
                  <a:pt x="2407" y="1236"/>
                </a:lnTo>
                <a:lnTo>
                  <a:pt x="2431" y="1255"/>
                </a:lnTo>
                <a:lnTo>
                  <a:pt x="2455" y="1272"/>
                </a:lnTo>
                <a:lnTo>
                  <a:pt x="2483" y="1286"/>
                </a:lnTo>
                <a:lnTo>
                  <a:pt x="2512" y="1296"/>
                </a:lnTo>
                <a:lnTo>
                  <a:pt x="2543" y="1305"/>
                </a:lnTo>
                <a:lnTo>
                  <a:pt x="2575" y="1310"/>
                </a:lnTo>
                <a:lnTo>
                  <a:pt x="2610" y="1311"/>
                </a:lnTo>
                <a:lnTo>
                  <a:pt x="2610" y="1311"/>
                </a:lnTo>
                <a:lnTo>
                  <a:pt x="2630" y="1310"/>
                </a:lnTo>
                <a:lnTo>
                  <a:pt x="2649" y="1308"/>
                </a:lnTo>
                <a:lnTo>
                  <a:pt x="2667" y="1305"/>
                </a:lnTo>
                <a:lnTo>
                  <a:pt x="2684" y="1301"/>
                </a:lnTo>
                <a:lnTo>
                  <a:pt x="2715" y="1291"/>
                </a:lnTo>
                <a:lnTo>
                  <a:pt x="2740" y="1279"/>
                </a:lnTo>
                <a:lnTo>
                  <a:pt x="2761" y="1267"/>
                </a:lnTo>
                <a:lnTo>
                  <a:pt x="2776" y="1255"/>
                </a:lnTo>
                <a:lnTo>
                  <a:pt x="2792" y="1241"/>
                </a:lnTo>
                <a:lnTo>
                  <a:pt x="2792" y="1241"/>
                </a:lnTo>
                <a:lnTo>
                  <a:pt x="2795" y="1239"/>
                </a:lnTo>
                <a:lnTo>
                  <a:pt x="2799" y="1239"/>
                </a:lnTo>
                <a:lnTo>
                  <a:pt x="2802" y="1243"/>
                </a:lnTo>
                <a:lnTo>
                  <a:pt x="2804" y="1244"/>
                </a:lnTo>
                <a:lnTo>
                  <a:pt x="2804" y="1554"/>
                </a:lnTo>
                <a:lnTo>
                  <a:pt x="2804" y="1554"/>
                </a:lnTo>
                <a:lnTo>
                  <a:pt x="2804" y="1557"/>
                </a:lnTo>
                <a:lnTo>
                  <a:pt x="2806" y="1559"/>
                </a:lnTo>
                <a:lnTo>
                  <a:pt x="2807" y="1561"/>
                </a:lnTo>
                <a:lnTo>
                  <a:pt x="2809" y="1561"/>
                </a:lnTo>
                <a:lnTo>
                  <a:pt x="2938" y="1561"/>
                </a:lnTo>
                <a:lnTo>
                  <a:pt x="2938" y="1561"/>
                </a:lnTo>
                <a:lnTo>
                  <a:pt x="2941" y="1561"/>
                </a:lnTo>
                <a:lnTo>
                  <a:pt x="2943" y="1559"/>
                </a:lnTo>
                <a:lnTo>
                  <a:pt x="2945" y="1557"/>
                </a:lnTo>
                <a:lnTo>
                  <a:pt x="2945" y="1554"/>
                </a:lnTo>
                <a:lnTo>
                  <a:pt x="2945" y="633"/>
                </a:lnTo>
                <a:lnTo>
                  <a:pt x="2945" y="633"/>
                </a:lnTo>
                <a:lnTo>
                  <a:pt x="2945" y="631"/>
                </a:lnTo>
                <a:lnTo>
                  <a:pt x="2943" y="629"/>
                </a:lnTo>
                <a:lnTo>
                  <a:pt x="2941" y="627"/>
                </a:lnTo>
                <a:lnTo>
                  <a:pt x="2938" y="627"/>
                </a:lnTo>
                <a:lnTo>
                  <a:pt x="2938" y="627"/>
                </a:lnTo>
                <a:close/>
                <a:moveTo>
                  <a:pt x="2629" y="1181"/>
                </a:moveTo>
                <a:lnTo>
                  <a:pt x="2629" y="1181"/>
                </a:lnTo>
                <a:lnTo>
                  <a:pt x="2608" y="1181"/>
                </a:lnTo>
                <a:lnTo>
                  <a:pt x="2587" y="1177"/>
                </a:lnTo>
                <a:lnTo>
                  <a:pt x="2567" y="1172"/>
                </a:lnTo>
                <a:lnTo>
                  <a:pt x="2550" y="1165"/>
                </a:lnTo>
                <a:lnTo>
                  <a:pt x="2533" y="1157"/>
                </a:lnTo>
                <a:lnTo>
                  <a:pt x="2517" y="1146"/>
                </a:lnTo>
                <a:lnTo>
                  <a:pt x="2503" y="1134"/>
                </a:lnTo>
                <a:lnTo>
                  <a:pt x="2491" y="1121"/>
                </a:lnTo>
                <a:lnTo>
                  <a:pt x="2479" y="1105"/>
                </a:lnTo>
                <a:lnTo>
                  <a:pt x="2471" y="1088"/>
                </a:lnTo>
                <a:lnTo>
                  <a:pt x="2462" y="1071"/>
                </a:lnTo>
                <a:lnTo>
                  <a:pt x="2455" y="1050"/>
                </a:lnTo>
                <a:lnTo>
                  <a:pt x="2450" y="1030"/>
                </a:lnTo>
                <a:lnTo>
                  <a:pt x="2445" y="1009"/>
                </a:lnTo>
                <a:lnTo>
                  <a:pt x="2443" y="987"/>
                </a:lnTo>
                <a:lnTo>
                  <a:pt x="2443" y="963"/>
                </a:lnTo>
                <a:lnTo>
                  <a:pt x="2443" y="963"/>
                </a:lnTo>
                <a:lnTo>
                  <a:pt x="2443" y="938"/>
                </a:lnTo>
                <a:lnTo>
                  <a:pt x="2445" y="916"/>
                </a:lnTo>
                <a:lnTo>
                  <a:pt x="2450" y="894"/>
                </a:lnTo>
                <a:lnTo>
                  <a:pt x="2455" y="873"/>
                </a:lnTo>
                <a:lnTo>
                  <a:pt x="2462" y="854"/>
                </a:lnTo>
                <a:lnTo>
                  <a:pt x="2471" y="835"/>
                </a:lnTo>
                <a:lnTo>
                  <a:pt x="2479" y="820"/>
                </a:lnTo>
                <a:lnTo>
                  <a:pt x="2491" y="804"/>
                </a:lnTo>
                <a:lnTo>
                  <a:pt x="2503" y="791"/>
                </a:lnTo>
                <a:lnTo>
                  <a:pt x="2517" y="777"/>
                </a:lnTo>
                <a:lnTo>
                  <a:pt x="2533" y="767"/>
                </a:lnTo>
                <a:lnTo>
                  <a:pt x="2550" y="758"/>
                </a:lnTo>
                <a:lnTo>
                  <a:pt x="2567" y="751"/>
                </a:lnTo>
                <a:lnTo>
                  <a:pt x="2587" y="746"/>
                </a:lnTo>
                <a:lnTo>
                  <a:pt x="2608" y="743"/>
                </a:lnTo>
                <a:lnTo>
                  <a:pt x="2629" y="743"/>
                </a:lnTo>
                <a:lnTo>
                  <a:pt x="2629" y="743"/>
                </a:lnTo>
                <a:lnTo>
                  <a:pt x="2649" y="743"/>
                </a:lnTo>
                <a:lnTo>
                  <a:pt x="2670" y="746"/>
                </a:lnTo>
                <a:lnTo>
                  <a:pt x="2687" y="751"/>
                </a:lnTo>
                <a:lnTo>
                  <a:pt x="2704" y="758"/>
                </a:lnTo>
                <a:lnTo>
                  <a:pt x="2720" y="767"/>
                </a:lnTo>
                <a:lnTo>
                  <a:pt x="2734" y="777"/>
                </a:lnTo>
                <a:lnTo>
                  <a:pt x="2747" y="791"/>
                </a:lnTo>
                <a:lnTo>
                  <a:pt x="2759" y="804"/>
                </a:lnTo>
                <a:lnTo>
                  <a:pt x="2770" y="820"/>
                </a:lnTo>
                <a:lnTo>
                  <a:pt x="2778" y="835"/>
                </a:lnTo>
                <a:lnTo>
                  <a:pt x="2785" y="854"/>
                </a:lnTo>
                <a:lnTo>
                  <a:pt x="2792" y="873"/>
                </a:lnTo>
                <a:lnTo>
                  <a:pt x="2797" y="894"/>
                </a:lnTo>
                <a:lnTo>
                  <a:pt x="2801" y="916"/>
                </a:lnTo>
                <a:lnTo>
                  <a:pt x="2802" y="938"/>
                </a:lnTo>
                <a:lnTo>
                  <a:pt x="2804" y="963"/>
                </a:lnTo>
                <a:lnTo>
                  <a:pt x="2804" y="963"/>
                </a:lnTo>
                <a:lnTo>
                  <a:pt x="2802" y="987"/>
                </a:lnTo>
                <a:lnTo>
                  <a:pt x="2801" y="1011"/>
                </a:lnTo>
                <a:lnTo>
                  <a:pt x="2797" y="1033"/>
                </a:lnTo>
                <a:lnTo>
                  <a:pt x="2792" y="1054"/>
                </a:lnTo>
                <a:lnTo>
                  <a:pt x="2785" y="1073"/>
                </a:lnTo>
                <a:lnTo>
                  <a:pt x="2778" y="1091"/>
                </a:lnTo>
                <a:lnTo>
                  <a:pt x="2770" y="1107"/>
                </a:lnTo>
                <a:lnTo>
                  <a:pt x="2759" y="1122"/>
                </a:lnTo>
                <a:lnTo>
                  <a:pt x="2747" y="1136"/>
                </a:lnTo>
                <a:lnTo>
                  <a:pt x="2734" y="1148"/>
                </a:lnTo>
                <a:lnTo>
                  <a:pt x="2720" y="1158"/>
                </a:lnTo>
                <a:lnTo>
                  <a:pt x="2704" y="1165"/>
                </a:lnTo>
                <a:lnTo>
                  <a:pt x="2687" y="1172"/>
                </a:lnTo>
                <a:lnTo>
                  <a:pt x="2670" y="1177"/>
                </a:lnTo>
                <a:lnTo>
                  <a:pt x="2649" y="1181"/>
                </a:lnTo>
                <a:lnTo>
                  <a:pt x="2629" y="1181"/>
                </a:lnTo>
                <a:lnTo>
                  <a:pt x="2629" y="1181"/>
                </a:lnTo>
                <a:close/>
                <a:moveTo>
                  <a:pt x="3648" y="627"/>
                </a:moveTo>
                <a:lnTo>
                  <a:pt x="3519" y="627"/>
                </a:lnTo>
                <a:lnTo>
                  <a:pt x="3519" y="627"/>
                </a:lnTo>
                <a:lnTo>
                  <a:pt x="3517" y="627"/>
                </a:lnTo>
                <a:lnTo>
                  <a:pt x="3515" y="629"/>
                </a:lnTo>
                <a:lnTo>
                  <a:pt x="3514" y="631"/>
                </a:lnTo>
                <a:lnTo>
                  <a:pt x="3514" y="633"/>
                </a:lnTo>
                <a:lnTo>
                  <a:pt x="3514" y="1004"/>
                </a:lnTo>
                <a:lnTo>
                  <a:pt x="3514" y="1004"/>
                </a:lnTo>
                <a:lnTo>
                  <a:pt x="3512" y="1021"/>
                </a:lnTo>
                <a:lnTo>
                  <a:pt x="3510" y="1038"/>
                </a:lnTo>
                <a:lnTo>
                  <a:pt x="3507" y="1054"/>
                </a:lnTo>
                <a:lnTo>
                  <a:pt x="3503" y="1069"/>
                </a:lnTo>
                <a:lnTo>
                  <a:pt x="3498" y="1085"/>
                </a:lnTo>
                <a:lnTo>
                  <a:pt x="3491" y="1100"/>
                </a:lnTo>
                <a:lnTo>
                  <a:pt x="3483" y="1114"/>
                </a:lnTo>
                <a:lnTo>
                  <a:pt x="3472" y="1126"/>
                </a:lnTo>
                <a:lnTo>
                  <a:pt x="3462" y="1138"/>
                </a:lnTo>
                <a:lnTo>
                  <a:pt x="3450" y="1150"/>
                </a:lnTo>
                <a:lnTo>
                  <a:pt x="3438" y="1158"/>
                </a:lnTo>
                <a:lnTo>
                  <a:pt x="3422" y="1167"/>
                </a:lnTo>
                <a:lnTo>
                  <a:pt x="3407" y="1172"/>
                </a:lnTo>
                <a:lnTo>
                  <a:pt x="3390" y="1177"/>
                </a:lnTo>
                <a:lnTo>
                  <a:pt x="3373" y="1181"/>
                </a:lnTo>
                <a:lnTo>
                  <a:pt x="3352" y="1181"/>
                </a:lnTo>
                <a:lnTo>
                  <a:pt x="3352" y="1181"/>
                </a:lnTo>
                <a:lnTo>
                  <a:pt x="3331" y="1181"/>
                </a:lnTo>
                <a:lnTo>
                  <a:pt x="3311" y="1177"/>
                </a:lnTo>
                <a:lnTo>
                  <a:pt x="3294" y="1172"/>
                </a:lnTo>
                <a:lnTo>
                  <a:pt x="3278" y="1165"/>
                </a:lnTo>
                <a:lnTo>
                  <a:pt x="3263" y="1157"/>
                </a:lnTo>
                <a:lnTo>
                  <a:pt x="3249" y="1146"/>
                </a:lnTo>
                <a:lnTo>
                  <a:pt x="3237" y="1136"/>
                </a:lnTo>
                <a:lnTo>
                  <a:pt x="3227" y="1122"/>
                </a:lnTo>
                <a:lnTo>
                  <a:pt x="3218" y="1109"/>
                </a:lnTo>
                <a:lnTo>
                  <a:pt x="3211" y="1095"/>
                </a:lnTo>
                <a:lnTo>
                  <a:pt x="3204" y="1079"/>
                </a:lnTo>
                <a:lnTo>
                  <a:pt x="3199" y="1064"/>
                </a:lnTo>
                <a:lnTo>
                  <a:pt x="3196" y="1047"/>
                </a:lnTo>
                <a:lnTo>
                  <a:pt x="3192" y="1031"/>
                </a:lnTo>
                <a:lnTo>
                  <a:pt x="3191" y="1014"/>
                </a:lnTo>
                <a:lnTo>
                  <a:pt x="3191" y="997"/>
                </a:lnTo>
                <a:lnTo>
                  <a:pt x="3191" y="633"/>
                </a:lnTo>
                <a:lnTo>
                  <a:pt x="3191" y="633"/>
                </a:lnTo>
                <a:lnTo>
                  <a:pt x="3191" y="631"/>
                </a:lnTo>
                <a:lnTo>
                  <a:pt x="3189" y="629"/>
                </a:lnTo>
                <a:lnTo>
                  <a:pt x="3187" y="627"/>
                </a:lnTo>
                <a:lnTo>
                  <a:pt x="3184" y="627"/>
                </a:lnTo>
                <a:lnTo>
                  <a:pt x="3055" y="627"/>
                </a:lnTo>
                <a:lnTo>
                  <a:pt x="3055" y="627"/>
                </a:lnTo>
                <a:lnTo>
                  <a:pt x="3051" y="627"/>
                </a:lnTo>
                <a:lnTo>
                  <a:pt x="3050" y="629"/>
                </a:lnTo>
                <a:lnTo>
                  <a:pt x="3048" y="631"/>
                </a:lnTo>
                <a:lnTo>
                  <a:pt x="3048" y="633"/>
                </a:lnTo>
                <a:lnTo>
                  <a:pt x="3048" y="997"/>
                </a:lnTo>
                <a:lnTo>
                  <a:pt x="3048" y="997"/>
                </a:lnTo>
                <a:lnTo>
                  <a:pt x="3048" y="1028"/>
                </a:lnTo>
                <a:lnTo>
                  <a:pt x="3051" y="1059"/>
                </a:lnTo>
                <a:lnTo>
                  <a:pt x="3057" y="1088"/>
                </a:lnTo>
                <a:lnTo>
                  <a:pt x="3063" y="1117"/>
                </a:lnTo>
                <a:lnTo>
                  <a:pt x="3074" y="1145"/>
                </a:lnTo>
                <a:lnTo>
                  <a:pt x="3084" y="1171"/>
                </a:lnTo>
                <a:lnTo>
                  <a:pt x="3099" y="1195"/>
                </a:lnTo>
                <a:lnTo>
                  <a:pt x="3115" y="1217"/>
                </a:lnTo>
                <a:lnTo>
                  <a:pt x="3134" y="1238"/>
                </a:lnTo>
                <a:lnTo>
                  <a:pt x="3154" y="1256"/>
                </a:lnTo>
                <a:lnTo>
                  <a:pt x="3177" y="1272"/>
                </a:lnTo>
                <a:lnTo>
                  <a:pt x="3204" y="1286"/>
                </a:lnTo>
                <a:lnTo>
                  <a:pt x="3232" y="1296"/>
                </a:lnTo>
                <a:lnTo>
                  <a:pt x="3263" y="1305"/>
                </a:lnTo>
                <a:lnTo>
                  <a:pt x="3297" y="1310"/>
                </a:lnTo>
                <a:lnTo>
                  <a:pt x="3333" y="1311"/>
                </a:lnTo>
                <a:lnTo>
                  <a:pt x="3333" y="1311"/>
                </a:lnTo>
                <a:lnTo>
                  <a:pt x="3359" y="1310"/>
                </a:lnTo>
                <a:lnTo>
                  <a:pt x="3385" y="1305"/>
                </a:lnTo>
                <a:lnTo>
                  <a:pt x="3409" y="1298"/>
                </a:lnTo>
                <a:lnTo>
                  <a:pt x="3433" y="1289"/>
                </a:lnTo>
                <a:lnTo>
                  <a:pt x="3453" y="1279"/>
                </a:lnTo>
                <a:lnTo>
                  <a:pt x="3471" y="1265"/>
                </a:lnTo>
                <a:lnTo>
                  <a:pt x="3486" y="1253"/>
                </a:lnTo>
                <a:lnTo>
                  <a:pt x="3498" y="1239"/>
                </a:lnTo>
                <a:lnTo>
                  <a:pt x="3498" y="1239"/>
                </a:lnTo>
                <a:lnTo>
                  <a:pt x="3502" y="1238"/>
                </a:lnTo>
                <a:lnTo>
                  <a:pt x="3507" y="1236"/>
                </a:lnTo>
                <a:lnTo>
                  <a:pt x="3510" y="1238"/>
                </a:lnTo>
                <a:lnTo>
                  <a:pt x="3514" y="1241"/>
                </a:lnTo>
                <a:lnTo>
                  <a:pt x="3526" y="1291"/>
                </a:lnTo>
                <a:lnTo>
                  <a:pt x="3526" y="1291"/>
                </a:lnTo>
                <a:lnTo>
                  <a:pt x="3529" y="1296"/>
                </a:lnTo>
                <a:lnTo>
                  <a:pt x="3532" y="1298"/>
                </a:lnTo>
                <a:lnTo>
                  <a:pt x="3536" y="1298"/>
                </a:lnTo>
                <a:lnTo>
                  <a:pt x="3648" y="1298"/>
                </a:lnTo>
                <a:lnTo>
                  <a:pt x="3648" y="1298"/>
                </a:lnTo>
                <a:lnTo>
                  <a:pt x="3651" y="1298"/>
                </a:lnTo>
                <a:lnTo>
                  <a:pt x="3653" y="1296"/>
                </a:lnTo>
                <a:lnTo>
                  <a:pt x="3654" y="1294"/>
                </a:lnTo>
                <a:lnTo>
                  <a:pt x="3654" y="1291"/>
                </a:lnTo>
                <a:lnTo>
                  <a:pt x="3654" y="633"/>
                </a:lnTo>
                <a:lnTo>
                  <a:pt x="3654" y="633"/>
                </a:lnTo>
                <a:lnTo>
                  <a:pt x="3654" y="631"/>
                </a:lnTo>
                <a:lnTo>
                  <a:pt x="3653" y="629"/>
                </a:lnTo>
                <a:lnTo>
                  <a:pt x="3651" y="627"/>
                </a:lnTo>
                <a:lnTo>
                  <a:pt x="3648" y="627"/>
                </a:lnTo>
                <a:lnTo>
                  <a:pt x="3648" y="627"/>
                </a:lnTo>
                <a:close/>
                <a:moveTo>
                  <a:pt x="4441" y="1176"/>
                </a:moveTo>
                <a:lnTo>
                  <a:pt x="4412" y="1176"/>
                </a:lnTo>
                <a:lnTo>
                  <a:pt x="4412" y="1176"/>
                </a:lnTo>
                <a:lnTo>
                  <a:pt x="4402" y="1176"/>
                </a:lnTo>
                <a:lnTo>
                  <a:pt x="4393" y="1172"/>
                </a:lnTo>
                <a:lnTo>
                  <a:pt x="4385" y="1169"/>
                </a:lnTo>
                <a:lnTo>
                  <a:pt x="4378" y="1164"/>
                </a:lnTo>
                <a:lnTo>
                  <a:pt x="4373" y="1157"/>
                </a:lnTo>
                <a:lnTo>
                  <a:pt x="4369" y="1148"/>
                </a:lnTo>
                <a:lnTo>
                  <a:pt x="4367" y="1141"/>
                </a:lnTo>
                <a:lnTo>
                  <a:pt x="4366" y="1133"/>
                </a:lnTo>
                <a:lnTo>
                  <a:pt x="4366" y="859"/>
                </a:lnTo>
                <a:lnTo>
                  <a:pt x="4366" y="859"/>
                </a:lnTo>
                <a:lnTo>
                  <a:pt x="4364" y="830"/>
                </a:lnTo>
                <a:lnTo>
                  <a:pt x="4361" y="803"/>
                </a:lnTo>
                <a:lnTo>
                  <a:pt x="4354" y="777"/>
                </a:lnTo>
                <a:lnTo>
                  <a:pt x="4345" y="753"/>
                </a:lnTo>
                <a:lnTo>
                  <a:pt x="4333" y="731"/>
                </a:lnTo>
                <a:lnTo>
                  <a:pt x="4319" y="710"/>
                </a:lnTo>
                <a:lnTo>
                  <a:pt x="4304" y="691"/>
                </a:lnTo>
                <a:lnTo>
                  <a:pt x="4287" y="676"/>
                </a:lnTo>
                <a:lnTo>
                  <a:pt x="4266" y="660"/>
                </a:lnTo>
                <a:lnTo>
                  <a:pt x="4244" y="648"/>
                </a:lnTo>
                <a:lnTo>
                  <a:pt x="4218" y="638"/>
                </a:lnTo>
                <a:lnTo>
                  <a:pt x="4192" y="629"/>
                </a:lnTo>
                <a:lnTo>
                  <a:pt x="4165" y="622"/>
                </a:lnTo>
                <a:lnTo>
                  <a:pt x="4134" y="617"/>
                </a:lnTo>
                <a:lnTo>
                  <a:pt x="4103" y="614"/>
                </a:lnTo>
                <a:lnTo>
                  <a:pt x="4069" y="614"/>
                </a:lnTo>
                <a:lnTo>
                  <a:pt x="4069" y="614"/>
                </a:lnTo>
                <a:lnTo>
                  <a:pt x="4039" y="614"/>
                </a:lnTo>
                <a:lnTo>
                  <a:pt x="4012" y="617"/>
                </a:lnTo>
                <a:lnTo>
                  <a:pt x="3984" y="622"/>
                </a:lnTo>
                <a:lnTo>
                  <a:pt x="3959" y="627"/>
                </a:lnTo>
                <a:lnTo>
                  <a:pt x="3933" y="636"/>
                </a:lnTo>
                <a:lnTo>
                  <a:pt x="3909" y="646"/>
                </a:lnTo>
                <a:lnTo>
                  <a:pt x="3886" y="658"/>
                </a:lnTo>
                <a:lnTo>
                  <a:pt x="3866" y="672"/>
                </a:lnTo>
                <a:lnTo>
                  <a:pt x="3845" y="688"/>
                </a:lnTo>
                <a:lnTo>
                  <a:pt x="3828" y="705"/>
                </a:lnTo>
                <a:lnTo>
                  <a:pt x="3814" y="724"/>
                </a:lnTo>
                <a:lnTo>
                  <a:pt x="3800" y="744"/>
                </a:lnTo>
                <a:lnTo>
                  <a:pt x="3790" y="767"/>
                </a:lnTo>
                <a:lnTo>
                  <a:pt x="3783" y="792"/>
                </a:lnTo>
                <a:lnTo>
                  <a:pt x="3778" y="818"/>
                </a:lnTo>
                <a:lnTo>
                  <a:pt x="3776" y="847"/>
                </a:lnTo>
                <a:lnTo>
                  <a:pt x="3776" y="847"/>
                </a:lnTo>
                <a:lnTo>
                  <a:pt x="3778" y="849"/>
                </a:lnTo>
                <a:lnTo>
                  <a:pt x="3778" y="851"/>
                </a:lnTo>
                <a:lnTo>
                  <a:pt x="3782" y="853"/>
                </a:lnTo>
                <a:lnTo>
                  <a:pt x="3783" y="854"/>
                </a:lnTo>
                <a:lnTo>
                  <a:pt x="3912" y="854"/>
                </a:lnTo>
                <a:lnTo>
                  <a:pt x="3912" y="854"/>
                </a:lnTo>
                <a:lnTo>
                  <a:pt x="3916" y="853"/>
                </a:lnTo>
                <a:lnTo>
                  <a:pt x="3917" y="851"/>
                </a:lnTo>
                <a:lnTo>
                  <a:pt x="3919" y="849"/>
                </a:lnTo>
                <a:lnTo>
                  <a:pt x="3919" y="847"/>
                </a:lnTo>
                <a:lnTo>
                  <a:pt x="3919" y="847"/>
                </a:lnTo>
                <a:lnTo>
                  <a:pt x="3921" y="827"/>
                </a:lnTo>
                <a:lnTo>
                  <a:pt x="3924" y="816"/>
                </a:lnTo>
                <a:lnTo>
                  <a:pt x="3928" y="808"/>
                </a:lnTo>
                <a:lnTo>
                  <a:pt x="3933" y="798"/>
                </a:lnTo>
                <a:lnTo>
                  <a:pt x="3938" y="789"/>
                </a:lnTo>
                <a:lnTo>
                  <a:pt x="3945" y="782"/>
                </a:lnTo>
                <a:lnTo>
                  <a:pt x="3953" y="773"/>
                </a:lnTo>
                <a:lnTo>
                  <a:pt x="3964" y="767"/>
                </a:lnTo>
                <a:lnTo>
                  <a:pt x="3974" y="761"/>
                </a:lnTo>
                <a:lnTo>
                  <a:pt x="3986" y="756"/>
                </a:lnTo>
                <a:lnTo>
                  <a:pt x="4000" y="751"/>
                </a:lnTo>
                <a:lnTo>
                  <a:pt x="4015" y="748"/>
                </a:lnTo>
                <a:lnTo>
                  <a:pt x="4031" y="746"/>
                </a:lnTo>
                <a:lnTo>
                  <a:pt x="4050" y="744"/>
                </a:lnTo>
                <a:lnTo>
                  <a:pt x="4069" y="743"/>
                </a:lnTo>
                <a:lnTo>
                  <a:pt x="4069" y="743"/>
                </a:lnTo>
                <a:lnTo>
                  <a:pt x="4094" y="744"/>
                </a:lnTo>
                <a:lnTo>
                  <a:pt x="4117" y="746"/>
                </a:lnTo>
                <a:lnTo>
                  <a:pt x="4136" y="749"/>
                </a:lnTo>
                <a:lnTo>
                  <a:pt x="4153" y="755"/>
                </a:lnTo>
                <a:lnTo>
                  <a:pt x="4168" y="760"/>
                </a:lnTo>
                <a:lnTo>
                  <a:pt x="4180" y="767"/>
                </a:lnTo>
                <a:lnTo>
                  <a:pt x="4190" y="775"/>
                </a:lnTo>
                <a:lnTo>
                  <a:pt x="4201" y="784"/>
                </a:lnTo>
                <a:lnTo>
                  <a:pt x="4208" y="792"/>
                </a:lnTo>
                <a:lnTo>
                  <a:pt x="4213" y="801"/>
                </a:lnTo>
                <a:lnTo>
                  <a:pt x="4216" y="810"/>
                </a:lnTo>
                <a:lnTo>
                  <a:pt x="4220" y="818"/>
                </a:lnTo>
                <a:lnTo>
                  <a:pt x="4223" y="837"/>
                </a:lnTo>
                <a:lnTo>
                  <a:pt x="4223" y="854"/>
                </a:lnTo>
                <a:lnTo>
                  <a:pt x="4223" y="854"/>
                </a:lnTo>
                <a:lnTo>
                  <a:pt x="4223" y="859"/>
                </a:lnTo>
                <a:lnTo>
                  <a:pt x="4221" y="866"/>
                </a:lnTo>
                <a:lnTo>
                  <a:pt x="4218" y="871"/>
                </a:lnTo>
                <a:lnTo>
                  <a:pt x="4213" y="878"/>
                </a:lnTo>
                <a:lnTo>
                  <a:pt x="4208" y="883"/>
                </a:lnTo>
                <a:lnTo>
                  <a:pt x="4199" y="887"/>
                </a:lnTo>
                <a:lnTo>
                  <a:pt x="4190" y="890"/>
                </a:lnTo>
                <a:lnTo>
                  <a:pt x="4182" y="890"/>
                </a:lnTo>
                <a:lnTo>
                  <a:pt x="4044" y="890"/>
                </a:lnTo>
                <a:lnTo>
                  <a:pt x="4044" y="890"/>
                </a:lnTo>
                <a:lnTo>
                  <a:pt x="4010" y="892"/>
                </a:lnTo>
                <a:lnTo>
                  <a:pt x="3977" y="896"/>
                </a:lnTo>
                <a:lnTo>
                  <a:pt x="3947" y="901"/>
                </a:lnTo>
                <a:lnTo>
                  <a:pt x="3917" y="908"/>
                </a:lnTo>
                <a:lnTo>
                  <a:pt x="3892" y="916"/>
                </a:lnTo>
                <a:lnTo>
                  <a:pt x="3867" y="926"/>
                </a:lnTo>
                <a:lnTo>
                  <a:pt x="3847" y="938"/>
                </a:lnTo>
                <a:lnTo>
                  <a:pt x="3826" y="952"/>
                </a:lnTo>
                <a:lnTo>
                  <a:pt x="3809" y="966"/>
                </a:lnTo>
                <a:lnTo>
                  <a:pt x="3795" y="981"/>
                </a:lnTo>
                <a:lnTo>
                  <a:pt x="3783" y="999"/>
                </a:lnTo>
                <a:lnTo>
                  <a:pt x="3773" y="1018"/>
                </a:lnTo>
                <a:lnTo>
                  <a:pt x="3764" y="1036"/>
                </a:lnTo>
                <a:lnTo>
                  <a:pt x="3759" y="1057"/>
                </a:lnTo>
                <a:lnTo>
                  <a:pt x="3756" y="1078"/>
                </a:lnTo>
                <a:lnTo>
                  <a:pt x="3754" y="1098"/>
                </a:lnTo>
                <a:lnTo>
                  <a:pt x="3754" y="1098"/>
                </a:lnTo>
                <a:lnTo>
                  <a:pt x="3756" y="1122"/>
                </a:lnTo>
                <a:lnTo>
                  <a:pt x="3758" y="1143"/>
                </a:lnTo>
                <a:lnTo>
                  <a:pt x="3763" y="1164"/>
                </a:lnTo>
                <a:lnTo>
                  <a:pt x="3770" y="1184"/>
                </a:lnTo>
                <a:lnTo>
                  <a:pt x="3780" y="1203"/>
                </a:lnTo>
                <a:lnTo>
                  <a:pt x="3790" y="1220"/>
                </a:lnTo>
                <a:lnTo>
                  <a:pt x="3804" y="1236"/>
                </a:lnTo>
                <a:lnTo>
                  <a:pt x="3819" y="1251"/>
                </a:lnTo>
                <a:lnTo>
                  <a:pt x="3837" y="1265"/>
                </a:lnTo>
                <a:lnTo>
                  <a:pt x="3855" y="1277"/>
                </a:lnTo>
                <a:lnTo>
                  <a:pt x="3878" y="1287"/>
                </a:lnTo>
                <a:lnTo>
                  <a:pt x="3902" y="1296"/>
                </a:lnTo>
                <a:lnTo>
                  <a:pt x="3928" y="1303"/>
                </a:lnTo>
                <a:lnTo>
                  <a:pt x="3955" y="1308"/>
                </a:lnTo>
                <a:lnTo>
                  <a:pt x="3986" y="1310"/>
                </a:lnTo>
                <a:lnTo>
                  <a:pt x="4019" y="1311"/>
                </a:lnTo>
                <a:lnTo>
                  <a:pt x="4019" y="1311"/>
                </a:lnTo>
                <a:lnTo>
                  <a:pt x="4058" y="1310"/>
                </a:lnTo>
                <a:lnTo>
                  <a:pt x="4096" y="1305"/>
                </a:lnTo>
                <a:lnTo>
                  <a:pt x="4130" y="1296"/>
                </a:lnTo>
                <a:lnTo>
                  <a:pt x="4160" y="1286"/>
                </a:lnTo>
                <a:lnTo>
                  <a:pt x="4185" y="1274"/>
                </a:lnTo>
                <a:lnTo>
                  <a:pt x="4208" y="1262"/>
                </a:lnTo>
                <a:lnTo>
                  <a:pt x="4227" y="1248"/>
                </a:lnTo>
                <a:lnTo>
                  <a:pt x="4240" y="1234"/>
                </a:lnTo>
                <a:lnTo>
                  <a:pt x="4240" y="1234"/>
                </a:lnTo>
                <a:lnTo>
                  <a:pt x="4244" y="1232"/>
                </a:lnTo>
                <a:lnTo>
                  <a:pt x="4247" y="1232"/>
                </a:lnTo>
                <a:lnTo>
                  <a:pt x="4251" y="1232"/>
                </a:lnTo>
                <a:lnTo>
                  <a:pt x="4252" y="1236"/>
                </a:lnTo>
                <a:lnTo>
                  <a:pt x="4252" y="1236"/>
                </a:lnTo>
                <a:lnTo>
                  <a:pt x="4263" y="1250"/>
                </a:lnTo>
                <a:lnTo>
                  <a:pt x="4273" y="1262"/>
                </a:lnTo>
                <a:lnTo>
                  <a:pt x="4287" y="1274"/>
                </a:lnTo>
                <a:lnTo>
                  <a:pt x="4302" y="1282"/>
                </a:lnTo>
                <a:lnTo>
                  <a:pt x="4319" y="1289"/>
                </a:lnTo>
                <a:lnTo>
                  <a:pt x="4340" y="1294"/>
                </a:lnTo>
                <a:lnTo>
                  <a:pt x="4362" y="1298"/>
                </a:lnTo>
                <a:lnTo>
                  <a:pt x="4388" y="1298"/>
                </a:lnTo>
                <a:lnTo>
                  <a:pt x="4441" y="1298"/>
                </a:lnTo>
                <a:lnTo>
                  <a:pt x="4441" y="1298"/>
                </a:lnTo>
                <a:lnTo>
                  <a:pt x="4445" y="1298"/>
                </a:lnTo>
                <a:lnTo>
                  <a:pt x="4446" y="1296"/>
                </a:lnTo>
                <a:lnTo>
                  <a:pt x="4448" y="1294"/>
                </a:lnTo>
                <a:lnTo>
                  <a:pt x="4448" y="1291"/>
                </a:lnTo>
                <a:lnTo>
                  <a:pt x="4448" y="1183"/>
                </a:lnTo>
                <a:lnTo>
                  <a:pt x="4448" y="1183"/>
                </a:lnTo>
                <a:lnTo>
                  <a:pt x="4448" y="1179"/>
                </a:lnTo>
                <a:lnTo>
                  <a:pt x="4446" y="1177"/>
                </a:lnTo>
                <a:lnTo>
                  <a:pt x="4445" y="1176"/>
                </a:lnTo>
                <a:lnTo>
                  <a:pt x="4441" y="1176"/>
                </a:lnTo>
                <a:lnTo>
                  <a:pt x="4441" y="1176"/>
                </a:lnTo>
                <a:close/>
                <a:moveTo>
                  <a:pt x="4223" y="1023"/>
                </a:moveTo>
                <a:lnTo>
                  <a:pt x="4223" y="1023"/>
                </a:lnTo>
                <a:lnTo>
                  <a:pt x="4223" y="1036"/>
                </a:lnTo>
                <a:lnTo>
                  <a:pt x="4221" y="1050"/>
                </a:lnTo>
                <a:lnTo>
                  <a:pt x="4218" y="1064"/>
                </a:lnTo>
                <a:lnTo>
                  <a:pt x="4213" y="1078"/>
                </a:lnTo>
                <a:lnTo>
                  <a:pt x="4206" y="1091"/>
                </a:lnTo>
                <a:lnTo>
                  <a:pt x="4197" y="1105"/>
                </a:lnTo>
                <a:lnTo>
                  <a:pt x="4187" y="1119"/>
                </a:lnTo>
                <a:lnTo>
                  <a:pt x="4177" y="1129"/>
                </a:lnTo>
                <a:lnTo>
                  <a:pt x="4163" y="1141"/>
                </a:lnTo>
                <a:lnTo>
                  <a:pt x="4148" y="1152"/>
                </a:lnTo>
                <a:lnTo>
                  <a:pt x="4132" y="1160"/>
                </a:lnTo>
                <a:lnTo>
                  <a:pt x="4113" y="1167"/>
                </a:lnTo>
                <a:lnTo>
                  <a:pt x="4093" y="1174"/>
                </a:lnTo>
                <a:lnTo>
                  <a:pt x="4070" y="1179"/>
                </a:lnTo>
                <a:lnTo>
                  <a:pt x="4044" y="1181"/>
                </a:lnTo>
                <a:lnTo>
                  <a:pt x="4019" y="1183"/>
                </a:lnTo>
                <a:lnTo>
                  <a:pt x="4019" y="1183"/>
                </a:lnTo>
                <a:lnTo>
                  <a:pt x="4002" y="1183"/>
                </a:lnTo>
                <a:lnTo>
                  <a:pt x="3986" y="1181"/>
                </a:lnTo>
                <a:lnTo>
                  <a:pt x="3972" y="1177"/>
                </a:lnTo>
                <a:lnTo>
                  <a:pt x="3960" y="1174"/>
                </a:lnTo>
                <a:lnTo>
                  <a:pt x="3948" y="1171"/>
                </a:lnTo>
                <a:lnTo>
                  <a:pt x="3940" y="1165"/>
                </a:lnTo>
                <a:lnTo>
                  <a:pt x="3929" y="1160"/>
                </a:lnTo>
                <a:lnTo>
                  <a:pt x="3922" y="1155"/>
                </a:lnTo>
                <a:lnTo>
                  <a:pt x="3916" y="1148"/>
                </a:lnTo>
                <a:lnTo>
                  <a:pt x="3910" y="1141"/>
                </a:lnTo>
                <a:lnTo>
                  <a:pt x="3902" y="1128"/>
                </a:lnTo>
                <a:lnTo>
                  <a:pt x="3898" y="1114"/>
                </a:lnTo>
                <a:lnTo>
                  <a:pt x="3897" y="1098"/>
                </a:lnTo>
                <a:lnTo>
                  <a:pt x="3897" y="1098"/>
                </a:lnTo>
                <a:lnTo>
                  <a:pt x="3897" y="1083"/>
                </a:lnTo>
                <a:lnTo>
                  <a:pt x="3902" y="1067"/>
                </a:lnTo>
                <a:lnTo>
                  <a:pt x="3905" y="1059"/>
                </a:lnTo>
                <a:lnTo>
                  <a:pt x="3910" y="1052"/>
                </a:lnTo>
                <a:lnTo>
                  <a:pt x="3916" y="1043"/>
                </a:lnTo>
                <a:lnTo>
                  <a:pt x="3924" y="1036"/>
                </a:lnTo>
                <a:lnTo>
                  <a:pt x="3933" y="1031"/>
                </a:lnTo>
                <a:lnTo>
                  <a:pt x="3943" y="1024"/>
                </a:lnTo>
                <a:lnTo>
                  <a:pt x="3955" y="1019"/>
                </a:lnTo>
                <a:lnTo>
                  <a:pt x="3971" y="1014"/>
                </a:lnTo>
                <a:lnTo>
                  <a:pt x="3986" y="1011"/>
                </a:lnTo>
                <a:lnTo>
                  <a:pt x="4005" y="1009"/>
                </a:lnTo>
                <a:lnTo>
                  <a:pt x="4026" y="1007"/>
                </a:lnTo>
                <a:lnTo>
                  <a:pt x="4050" y="1006"/>
                </a:lnTo>
                <a:lnTo>
                  <a:pt x="4218" y="1006"/>
                </a:lnTo>
                <a:lnTo>
                  <a:pt x="4218" y="1006"/>
                </a:lnTo>
                <a:lnTo>
                  <a:pt x="4220" y="1007"/>
                </a:lnTo>
                <a:lnTo>
                  <a:pt x="4221" y="1007"/>
                </a:lnTo>
                <a:lnTo>
                  <a:pt x="4223" y="1011"/>
                </a:lnTo>
                <a:lnTo>
                  <a:pt x="4223" y="1012"/>
                </a:lnTo>
                <a:lnTo>
                  <a:pt x="4223" y="1023"/>
                </a:lnTo>
                <a:close/>
                <a:moveTo>
                  <a:pt x="4869" y="614"/>
                </a:moveTo>
                <a:lnTo>
                  <a:pt x="4869" y="614"/>
                </a:lnTo>
                <a:lnTo>
                  <a:pt x="4842" y="615"/>
                </a:lnTo>
                <a:lnTo>
                  <a:pt x="4816" y="619"/>
                </a:lnTo>
                <a:lnTo>
                  <a:pt x="4792" y="626"/>
                </a:lnTo>
                <a:lnTo>
                  <a:pt x="4770" y="636"/>
                </a:lnTo>
                <a:lnTo>
                  <a:pt x="4747" y="646"/>
                </a:lnTo>
                <a:lnTo>
                  <a:pt x="4730" y="658"/>
                </a:lnTo>
                <a:lnTo>
                  <a:pt x="4715" y="672"/>
                </a:lnTo>
                <a:lnTo>
                  <a:pt x="4702" y="684"/>
                </a:lnTo>
                <a:lnTo>
                  <a:pt x="4702" y="684"/>
                </a:lnTo>
                <a:lnTo>
                  <a:pt x="4699" y="688"/>
                </a:lnTo>
                <a:lnTo>
                  <a:pt x="4696" y="689"/>
                </a:lnTo>
                <a:lnTo>
                  <a:pt x="4690" y="688"/>
                </a:lnTo>
                <a:lnTo>
                  <a:pt x="4689" y="684"/>
                </a:lnTo>
                <a:lnTo>
                  <a:pt x="4675" y="633"/>
                </a:lnTo>
                <a:lnTo>
                  <a:pt x="4675" y="633"/>
                </a:lnTo>
                <a:lnTo>
                  <a:pt x="4672" y="629"/>
                </a:lnTo>
                <a:lnTo>
                  <a:pt x="4670" y="627"/>
                </a:lnTo>
                <a:lnTo>
                  <a:pt x="4666" y="627"/>
                </a:lnTo>
                <a:lnTo>
                  <a:pt x="4553" y="627"/>
                </a:lnTo>
                <a:lnTo>
                  <a:pt x="4553" y="627"/>
                </a:lnTo>
                <a:lnTo>
                  <a:pt x="4550" y="627"/>
                </a:lnTo>
                <a:lnTo>
                  <a:pt x="4548" y="629"/>
                </a:lnTo>
                <a:lnTo>
                  <a:pt x="4546" y="631"/>
                </a:lnTo>
                <a:lnTo>
                  <a:pt x="4546" y="633"/>
                </a:lnTo>
                <a:lnTo>
                  <a:pt x="4546" y="1291"/>
                </a:lnTo>
                <a:lnTo>
                  <a:pt x="4546" y="1291"/>
                </a:lnTo>
                <a:lnTo>
                  <a:pt x="4546" y="1294"/>
                </a:lnTo>
                <a:lnTo>
                  <a:pt x="4548" y="1296"/>
                </a:lnTo>
                <a:lnTo>
                  <a:pt x="4550" y="1298"/>
                </a:lnTo>
                <a:lnTo>
                  <a:pt x="4553" y="1298"/>
                </a:lnTo>
                <a:lnTo>
                  <a:pt x="4682" y="1298"/>
                </a:lnTo>
                <a:lnTo>
                  <a:pt x="4682" y="1298"/>
                </a:lnTo>
                <a:lnTo>
                  <a:pt x="4684" y="1298"/>
                </a:lnTo>
                <a:lnTo>
                  <a:pt x="4687" y="1296"/>
                </a:lnTo>
                <a:lnTo>
                  <a:pt x="4687" y="1294"/>
                </a:lnTo>
                <a:lnTo>
                  <a:pt x="4689" y="1291"/>
                </a:lnTo>
                <a:lnTo>
                  <a:pt x="4689" y="921"/>
                </a:lnTo>
                <a:lnTo>
                  <a:pt x="4689" y="921"/>
                </a:lnTo>
                <a:lnTo>
                  <a:pt x="4689" y="904"/>
                </a:lnTo>
                <a:lnTo>
                  <a:pt x="4690" y="887"/>
                </a:lnTo>
                <a:lnTo>
                  <a:pt x="4694" y="871"/>
                </a:lnTo>
                <a:lnTo>
                  <a:pt x="4697" y="854"/>
                </a:lnTo>
                <a:lnTo>
                  <a:pt x="4704" y="839"/>
                </a:lnTo>
                <a:lnTo>
                  <a:pt x="4711" y="825"/>
                </a:lnTo>
                <a:lnTo>
                  <a:pt x="4718" y="811"/>
                </a:lnTo>
                <a:lnTo>
                  <a:pt x="4728" y="798"/>
                </a:lnTo>
                <a:lnTo>
                  <a:pt x="4739" y="786"/>
                </a:lnTo>
                <a:lnTo>
                  <a:pt x="4751" y="775"/>
                </a:lnTo>
                <a:lnTo>
                  <a:pt x="4764" y="767"/>
                </a:lnTo>
                <a:lnTo>
                  <a:pt x="4778" y="758"/>
                </a:lnTo>
                <a:lnTo>
                  <a:pt x="4794" y="751"/>
                </a:lnTo>
                <a:lnTo>
                  <a:pt x="4811" y="748"/>
                </a:lnTo>
                <a:lnTo>
                  <a:pt x="4830" y="744"/>
                </a:lnTo>
                <a:lnTo>
                  <a:pt x="4849" y="743"/>
                </a:lnTo>
                <a:lnTo>
                  <a:pt x="4849" y="743"/>
                </a:lnTo>
                <a:lnTo>
                  <a:pt x="4869" y="744"/>
                </a:lnTo>
                <a:lnTo>
                  <a:pt x="4890" y="748"/>
                </a:lnTo>
                <a:lnTo>
                  <a:pt x="4907" y="753"/>
                </a:lnTo>
                <a:lnTo>
                  <a:pt x="4924" y="760"/>
                </a:lnTo>
                <a:lnTo>
                  <a:pt x="4938" y="768"/>
                </a:lnTo>
                <a:lnTo>
                  <a:pt x="4952" y="779"/>
                </a:lnTo>
                <a:lnTo>
                  <a:pt x="4964" y="789"/>
                </a:lnTo>
                <a:lnTo>
                  <a:pt x="4974" y="801"/>
                </a:lnTo>
                <a:lnTo>
                  <a:pt x="4983" y="815"/>
                </a:lnTo>
                <a:lnTo>
                  <a:pt x="4991" y="830"/>
                </a:lnTo>
                <a:lnTo>
                  <a:pt x="4996" y="846"/>
                </a:lnTo>
                <a:lnTo>
                  <a:pt x="5001" y="861"/>
                </a:lnTo>
                <a:lnTo>
                  <a:pt x="5005" y="877"/>
                </a:lnTo>
                <a:lnTo>
                  <a:pt x="5008" y="894"/>
                </a:lnTo>
                <a:lnTo>
                  <a:pt x="5010" y="911"/>
                </a:lnTo>
                <a:lnTo>
                  <a:pt x="5010" y="928"/>
                </a:lnTo>
                <a:lnTo>
                  <a:pt x="5010" y="1291"/>
                </a:lnTo>
                <a:lnTo>
                  <a:pt x="5010" y="1291"/>
                </a:lnTo>
                <a:lnTo>
                  <a:pt x="5012" y="1294"/>
                </a:lnTo>
                <a:lnTo>
                  <a:pt x="5012" y="1296"/>
                </a:lnTo>
                <a:lnTo>
                  <a:pt x="5015" y="1298"/>
                </a:lnTo>
                <a:lnTo>
                  <a:pt x="5017" y="1298"/>
                </a:lnTo>
                <a:lnTo>
                  <a:pt x="5147" y="1298"/>
                </a:lnTo>
                <a:lnTo>
                  <a:pt x="5147" y="1298"/>
                </a:lnTo>
                <a:lnTo>
                  <a:pt x="5149" y="1298"/>
                </a:lnTo>
                <a:lnTo>
                  <a:pt x="5153" y="1296"/>
                </a:lnTo>
                <a:lnTo>
                  <a:pt x="5153" y="1294"/>
                </a:lnTo>
                <a:lnTo>
                  <a:pt x="5154" y="1291"/>
                </a:lnTo>
                <a:lnTo>
                  <a:pt x="5154" y="928"/>
                </a:lnTo>
                <a:lnTo>
                  <a:pt x="5154" y="928"/>
                </a:lnTo>
                <a:lnTo>
                  <a:pt x="5153" y="896"/>
                </a:lnTo>
                <a:lnTo>
                  <a:pt x="5149" y="866"/>
                </a:lnTo>
                <a:lnTo>
                  <a:pt x="5144" y="835"/>
                </a:lnTo>
                <a:lnTo>
                  <a:pt x="5137" y="806"/>
                </a:lnTo>
                <a:lnTo>
                  <a:pt x="5129" y="780"/>
                </a:lnTo>
                <a:lnTo>
                  <a:pt x="5117" y="753"/>
                </a:lnTo>
                <a:lnTo>
                  <a:pt x="5103" y="729"/>
                </a:lnTo>
                <a:lnTo>
                  <a:pt x="5086" y="706"/>
                </a:lnTo>
                <a:lnTo>
                  <a:pt x="5068" y="686"/>
                </a:lnTo>
                <a:lnTo>
                  <a:pt x="5046" y="669"/>
                </a:lnTo>
                <a:lnTo>
                  <a:pt x="5024" y="651"/>
                </a:lnTo>
                <a:lnTo>
                  <a:pt x="4998" y="638"/>
                </a:lnTo>
                <a:lnTo>
                  <a:pt x="4969" y="627"/>
                </a:lnTo>
                <a:lnTo>
                  <a:pt x="4938" y="620"/>
                </a:lnTo>
                <a:lnTo>
                  <a:pt x="4905" y="615"/>
                </a:lnTo>
                <a:lnTo>
                  <a:pt x="4869" y="614"/>
                </a:lnTo>
                <a:lnTo>
                  <a:pt x="4869" y="614"/>
                </a:lnTo>
                <a:close/>
                <a:moveTo>
                  <a:pt x="5615" y="627"/>
                </a:moveTo>
                <a:lnTo>
                  <a:pt x="5474" y="627"/>
                </a:lnTo>
                <a:lnTo>
                  <a:pt x="5474" y="627"/>
                </a:lnTo>
                <a:lnTo>
                  <a:pt x="5472" y="626"/>
                </a:lnTo>
                <a:lnTo>
                  <a:pt x="5470" y="624"/>
                </a:lnTo>
                <a:lnTo>
                  <a:pt x="5469" y="622"/>
                </a:lnTo>
                <a:lnTo>
                  <a:pt x="5469" y="620"/>
                </a:lnTo>
                <a:lnTo>
                  <a:pt x="5469" y="440"/>
                </a:lnTo>
                <a:lnTo>
                  <a:pt x="5469" y="440"/>
                </a:lnTo>
                <a:lnTo>
                  <a:pt x="5467" y="438"/>
                </a:lnTo>
                <a:lnTo>
                  <a:pt x="5467" y="437"/>
                </a:lnTo>
                <a:lnTo>
                  <a:pt x="5464" y="435"/>
                </a:lnTo>
                <a:lnTo>
                  <a:pt x="5462" y="435"/>
                </a:lnTo>
                <a:lnTo>
                  <a:pt x="5331" y="435"/>
                </a:lnTo>
                <a:lnTo>
                  <a:pt x="5331" y="435"/>
                </a:lnTo>
                <a:lnTo>
                  <a:pt x="5328" y="435"/>
                </a:lnTo>
                <a:lnTo>
                  <a:pt x="5326" y="437"/>
                </a:lnTo>
                <a:lnTo>
                  <a:pt x="5324" y="438"/>
                </a:lnTo>
                <a:lnTo>
                  <a:pt x="5324" y="440"/>
                </a:lnTo>
                <a:lnTo>
                  <a:pt x="5324" y="620"/>
                </a:lnTo>
                <a:lnTo>
                  <a:pt x="5324" y="620"/>
                </a:lnTo>
                <a:lnTo>
                  <a:pt x="5324" y="622"/>
                </a:lnTo>
                <a:lnTo>
                  <a:pt x="5323" y="624"/>
                </a:lnTo>
                <a:lnTo>
                  <a:pt x="5321" y="626"/>
                </a:lnTo>
                <a:lnTo>
                  <a:pt x="5318" y="627"/>
                </a:lnTo>
                <a:lnTo>
                  <a:pt x="5206" y="627"/>
                </a:lnTo>
                <a:lnTo>
                  <a:pt x="5206" y="627"/>
                </a:lnTo>
                <a:lnTo>
                  <a:pt x="5202" y="627"/>
                </a:lnTo>
                <a:lnTo>
                  <a:pt x="5201" y="629"/>
                </a:lnTo>
                <a:lnTo>
                  <a:pt x="5199" y="631"/>
                </a:lnTo>
                <a:lnTo>
                  <a:pt x="5199" y="633"/>
                </a:lnTo>
                <a:lnTo>
                  <a:pt x="5199" y="739"/>
                </a:lnTo>
                <a:lnTo>
                  <a:pt x="5199" y="739"/>
                </a:lnTo>
                <a:lnTo>
                  <a:pt x="5199" y="743"/>
                </a:lnTo>
                <a:lnTo>
                  <a:pt x="5201" y="744"/>
                </a:lnTo>
                <a:lnTo>
                  <a:pt x="5202" y="746"/>
                </a:lnTo>
                <a:lnTo>
                  <a:pt x="5206" y="746"/>
                </a:lnTo>
                <a:lnTo>
                  <a:pt x="5318" y="746"/>
                </a:lnTo>
                <a:lnTo>
                  <a:pt x="5318" y="746"/>
                </a:lnTo>
                <a:lnTo>
                  <a:pt x="5321" y="746"/>
                </a:lnTo>
                <a:lnTo>
                  <a:pt x="5323" y="748"/>
                </a:lnTo>
                <a:lnTo>
                  <a:pt x="5324" y="749"/>
                </a:lnTo>
                <a:lnTo>
                  <a:pt x="5324" y="753"/>
                </a:lnTo>
                <a:lnTo>
                  <a:pt x="5324" y="1110"/>
                </a:lnTo>
                <a:lnTo>
                  <a:pt x="5324" y="1110"/>
                </a:lnTo>
                <a:lnTo>
                  <a:pt x="5326" y="1134"/>
                </a:lnTo>
                <a:lnTo>
                  <a:pt x="5328" y="1157"/>
                </a:lnTo>
                <a:lnTo>
                  <a:pt x="5330" y="1177"/>
                </a:lnTo>
                <a:lnTo>
                  <a:pt x="5335" y="1196"/>
                </a:lnTo>
                <a:lnTo>
                  <a:pt x="5342" y="1213"/>
                </a:lnTo>
                <a:lnTo>
                  <a:pt x="5349" y="1229"/>
                </a:lnTo>
                <a:lnTo>
                  <a:pt x="5357" y="1243"/>
                </a:lnTo>
                <a:lnTo>
                  <a:pt x="5367" y="1255"/>
                </a:lnTo>
                <a:lnTo>
                  <a:pt x="5379" y="1265"/>
                </a:lnTo>
                <a:lnTo>
                  <a:pt x="5393" y="1274"/>
                </a:lnTo>
                <a:lnTo>
                  <a:pt x="5409" y="1281"/>
                </a:lnTo>
                <a:lnTo>
                  <a:pt x="5426" y="1287"/>
                </a:lnTo>
                <a:lnTo>
                  <a:pt x="5443" y="1293"/>
                </a:lnTo>
                <a:lnTo>
                  <a:pt x="5464" y="1296"/>
                </a:lnTo>
                <a:lnTo>
                  <a:pt x="5486" y="1298"/>
                </a:lnTo>
                <a:lnTo>
                  <a:pt x="5510" y="1298"/>
                </a:lnTo>
                <a:lnTo>
                  <a:pt x="5615" y="1298"/>
                </a:lnTo>
                <a:lnTo>
                  <a:pt x="5615" y="1298"/>
                </a:lnTo>
                <a:lnTo>
                  <a:pt x="5617" y="1298"/>
                </a:lnTo>
                <a:lnTo>
                  <a:pt x="5618" y="1296"/>
                </a:lnTo>
                <a:lnTo>
                  <a:pt x="5620" y="1294"/>
                </a:lnTo>
                <a:lnTo>
                  <a:pt x="5620" y="1291"/>
                </a:lnTo>
                <a:lnTo>
                  <a:pt x="5620" y="1176"/>
                </a:lnTo>
                <a:lnTo>
                  <a:pt x="5620" y="1176"/>
                </a:lnTo>
                <a:lnTo>
                  <a:pt x="5620" y="1174"/>
                </a:lnTo>
                <a:lnTo>
                  <a:pt x="5618" y="1171"/>
                </a:lnTo>
                <a:lnTo>
                  <a:pt x="5617" y="1171"/>
                </a:lnTo>
                <a:lnTo>
                  <a:pt x="5615" y="1169"/>
                </a:lnTo>
                <a:lnTo>
                  <a:pt x="5527" y="1169"/>
                </a:lnTo>
                <a:lnTo>
                  <a:pt x="5527" y="1169"/>
                </a:lnTo>
                <a:lnTo>
                  <a:pt x="5513" y="1169"/>
                </a:lnTo>
                <a:lnTo>
                  <a:pt x="5501" y="1165"/>
                </a:lnTo>
                <a:lnTo>
                  <a:pt x="5491" y="1160"/>
                </a:lnTo>
                <a:lnTo>
                  <a:pt x="5483" y="1155"/>
                </a:lnTo>
                <a:lnTo>
                  <a:pt x="5476" y="1146"/>
                </a:lnTo>
                <a:lnTo>
                  <a:pt x="5472" y="1138"/>
                </a:lnTo>
                <a:lnTo>
                  <a:pt x="5469" y="1128"/>
                </a:lnTo>
                <a:lnTo>
                  <a:pt x="5469" y="1116"/>
                </a:lnTo>
                <a:lnTo>
                  <a:pt x="5469" y="753"/>
                </a:lnTo>
                <a:lnTo>
                  <a:pt x="5469" y="753"/>
                </a:lnTo>
                <a:lnTo>
                  <a:pt x="5469" y="749"/>
                </a:lnTo>
                <a:lnTo>
                  <a:pt x="5470" y="748"/>
                </a:lnTo>
                <a:lnTo>
                  <a:pt x="5472" y="746"/>
                </a:lnTo>
                <a:lnTo>
                  <a:pt x="5474" y="746"/>
                </a:lnTo>
                <a:lnTo>
                  <a:pt x="5615" y="746"/>
                </a:lnTo>
                <a:lnTo>
                  <a:pt x="5615" y="746"/>
                </a:lnTo>
                <a:lnTo>
                  <a:pt x="5617" y="746"/>
                </a:lnTo>
                <a:lnTo>
                  <a:pt x="5618" y="744"/>
                </a:lnTo>
                <a:lnTo>
                  <a:pt x="5620" y="743"/>
                </a:lnTo>
                <a:lnTo>
                  <a:pt x="5620" y="739"/>
                </a:lnTo>
                <a:lnTo>
                  <a:pt x="5620" y="633"/>
                </a:lnTo>
                <a:lnTo>
                  <a:pt x="5620" y="633"/>
                </a:lnTo>
                <a:lnTo>
                  <a:pt x="5620" y="631"/>
                </a:lnTo>
                <a:lnTo>
                  <a:pt x="5618" y="629"/>
                </a:lnTo>
                <a:lnTo>
                  <a:pt x="5617" y="627"/>
                </a:lnTo>
                <a:lnTo>
                  <a:pt x="5615" y="627"/>
                </a:lnTo>
                <a:lnTo>
                  <a:pt x="5615" y="627"/>
                </a:lnTo>
                <a:close/>
                <a:moveTo>
                  <a:pt x="6582" y="627"/>
                </a:moveTo>
                <a:lnTo>
                  <a:pt x="6453" y="627"/>
                </a:lnTo>
                <a:lnTo>
                  <a:pt x="6453" y="627"/>
                </a:lnTo>
                <a:lnTo>
                  <a:pt x="6452" y="627"/>
                </a:lnTo>
                <a:lnTo>
                  <a:pt x="6448" y="629"/>
                </a:lnTo>
                <a:lnTo>
                  <a:pt x="6448" y="631"/>
                </a:lnTo>
                <a:lnTo>
                  <a:pt x="6446" y="633"/>
                </a:lnTo>
                <a:lnTo>
                  <a:pt x="6446" y="1004"/>
                </a:lnTo>
                <a:lnTo>
                  <a:pt x="6446" y="1004"/>
                </a:lnTo>
                <a:lnTo>
                  <a:pt x="6446" y="1021"/>
                </a:lnTo>
                <a:lnTo>
                  <a:pt x="6445" y="1038"/>
                </a:lnTo>
                <a:lnTo>
                  <a:pt x="6441" y="1054"/>
                </a:lnTo>
                <a:lnTo>
                  <a:pt x="6438" y="1069"/>
                </a:lnTo>
                <a:lnTo>
                  <a:pt x="6431" y="1085"/>
                </a:lnTo>
                <a:lnTo>
                  <a:pt x="6424" y="1100"/>
                </a:lnTo>
                <a:lnTo>
                  <a:pt x="6417" y="1114"/>
                </a:lnTo>
                <a:lnTo>
                  <a:pt x="6407" y="1126"/>
                </a:lnTo>
                <a:lnTo>
                  <a:pt x="6397" y="1138"/>
                </a:lnTo>
                <a:lnTo>
                  <a:pt x="6385" y="1150"/>
                </a:lnTo>
                <a:lnTo>
                  <a:pt x="6371" y="1158"/>
                </a:lnTo>
                <a:lnTo>
                  <a:pt x="6357" y="1167"/>
                </a:lnTo>
                <a:lnTo>
                  <a:pt x="6342" y="1172"/>
                </a:lnTo>
                <a:lnTo>
                  <a:pt x="6324" y="1177"/>
                </a:lnTo>
                <a:lnTo>
                  <a:pt x="6306" y="1181"/>
                </a:lnTo>
                <a:lnTo>
                  <a:pt x="6287" y="1181"/>
                </a:lnTo>
                <a:lnTo>
                  <a:pt x="6287" y="1181"/>
                </a:lnTo>
                <a:lnTo>
                  <a:pt x="6266" y="1181"/>
                </a:lnTo>
                <a:lnTo>
                  <a:pt x="6245" y="1177"/>
                </a:lnTo>
                <a:lnTo>
                  <a:pt x="6228" y="1172"/>
                </a:lnTo>
                <a:lnTo>
                  <a:pt x="6211" y="1165"/>
                </a:lnTo>
                <a:lnTo>
                  <a:pt x="6197" y="1157"/>
                </a:lnTo>
                <a:lnTo>
                  <a:pt x="6184" y="1146"/>
                </a:lnTo>
                <a:lnTo>
                  <a:pt x="6171" y="1136"/>
                </a:lnTo>
                <a:lnTo>
                  <a:pt x="6161" y="1122"/>
                </a:lnTo>
                <a:lnTo>
                  <a:pt x="6153" y="1109"/>
                </a:lnTo>
                <a:lnTo>
                  <a:pt x="6144" y="1095"/>
                </a:lnTo>
                <a:lnTo>
                  <a:pt x="6139" y="1079"/>
                </a:lnTo>
                <a:lnTo>
                  <a:pt x="6134" y="1064"/>
                </a:lnTo>
                <a:lnTo>
                  <a:pt x="6130" y="1047"/>
                </a:lnTo>
                <a:lnTo>
                  <a:pt x="6127" y="1031"/>
                </a:lnTo>
                <a:lnTo>
                  <a:pt x="6125" y="1014"/>
                </a:lnTo>
                <a:lnTo>
                  <a:pt x="6125" y="997"/>
                </a:lnTo>
                <a:lnTo>
                  <a:pt x="6125" y="633"/>
                </a:lnTo>
                <a:lnTo>
                  <a:pt x="6125" y="633"/>
                </a:lnTo>
                <a:lnTo>
                  <a:pt x="6123" y="631"/>
                </a:lnTo>
                <a:lnTo>
                  <a:pt x="6123" y="629"/>
                </a:lnTo>
                <a:lnTo>
                  <a:pt x="6120" y="627"/>
                </a:lnTo>
                <a:lnTo>
                  <a:pt x="6118" y="627"/>
                </a:lnTo>
                <a:lnTo>
                  <a:pt x="5988" y="627"/>
                </a:lnTo>
                <a:lnTo>
                  <a:pt x="5988" y="627"/>
                </a:lnTo>
                <a:lnTo>
                  <a:pt x="5986" y="627"/>
                </a:lnTo>
                <a:lnTo>
                  <a:pt x="5982" y="629"/>
                </a:lnTo>
                <a:lnTo>
                  <a:pt x="5982" y="631"/>
                </a:lnTo>
                <a:lnTo>
                  <a:pt x="5981" y="633"/>
                </a:lnTo>
                <a:lnTo>
                  <a:pt x="5981" y="997"/>
                </a:lnTo>
                <a:lnTo>
                  <a:pt x="5981" y="997"/>
                </a:lnTo>
                <a:lnTo>
                  <a:pt x="5982" y="1028"/>
                </a:lnTo>
                <a:lnTo>
                  <a:pt x="5986" y="1059"/>
                </a:lnTo>
                <a:lnTo>
                  <a:pt x="5991" y="1088"/>
                </a:lnTo>
                <a:lnTo>
                  <a:pt x="5998" y="1117"/>
                </a:lnTo>
                <a:lnTo>
                  <a:pt x="6007" y="1145"/>
                </a:lnTo>
                <a:lnTo>
                  <a:pt x="6019" y="1171"/>
                </a:lnTo>
                <a:lnTo>
                  <a:pt x="6032" y="1195"/>
                </a:lnTo>
                <a:lnTo>
                  <a:pt x="6050" y="1217"/>
                </a:lnTo>
                <a:lnTo>
                  <a:pt x="6067" y="1238"/>
                </a:lnTo>
                <a:lnTo>
                  <a:pt x="6089" y="1256"/>
                </a:lnTo>
                <a:lnTo>
                  <a:pt x="6111" y="1272"/>
                </a:lnTo>
                <a:lnTo>
                  <a:pt x="6137" y="1286"/>
                </a:lnTo>
                <a:lnTo>
                  <a:pt x="6166" y="1296"/>
                </a:lnTo>
                <a:lnTo>
                  <a:pt x="6197" y="1305"/>
                </a:lnTo>
                <a:lnTo>
                  <a:pt x="6230" y="1310"/>
                </a:lnTo>
                <a:lnTo>
                  <a:pt x="6266" y="1311"/>
                </a:lnTo>
                <a:lnTo>
                  <a:pt x="6266" y="1311"/>
                </a:lnTo>
                <a:lnTo>
                  <a:pt x="6293" y="1310"/>
                </a:lnTo>
                <a:lnTo>
                  <a:pt x="6319" y="1305"/>
                </a:lnTo>
                <a:lnTo>
                  <a:pt x="6343" y="1298"/>
                </a:lnTo>
                <a:lnTo>
                  <a:pt x="6366" y="1289"/>
                </a:lnTo>
                <a:lnTo>
                  <a:pt x="6388" y="1279"/>
                </a:lnTo>
                <a:lnTo>
                  <a:pt x="6405" y="1265"/>
                </a:lnTo>
                <a:lnTo>
                  <a:pt x="6421" y="1253"/>
                </a:lnTo>
                <a:lnTo>
                  <a:pt x="6433" y="1239"/>
                </a:lnTo>
                <a:lnTo>
                  <a:pt x="6433" y="1239"/>
                </a:lnTo>
                <a:lnTo>
                  <a:pt x="6436" y="1238"/>
                </a:lnTo>
                <a:lnTo>
                  <a:pt x="6440" y="1236"/>
                </a:lnTo>
                <a:lnTo>
                  <a:pt x="6445" y="1238"/>
                </a:lnTo>
                <a:lnTo>
                  <a:pt x="6446" y="1241"/>
                </a:lnTo>
                <a:lnTo>
                  <a:pt x="6460" y="1291"/>
                </a:lnTo>
                <a:lnTo>
                  <a:pt x="6460" y="1291"/>
                </a:lnTo>
                <a:lnTo>
                  <a:pt x="6464" y="1296"/>
                </a:lnTo>
                <a:lnTo>
                  <a:pt x="6465" y="1298"/>
                </a:lnTo>
                <a:lnTo>
                  <a:pt x="6469" y="1298"/>
                </a:lnTo>
                <a:lnTo>
                  <a:pt x="6582" y="1298"/>
                </a:lnTo>
                <a:lnTo>
                  <a:pt x="6582" y="1298"/>
                </a:lnTo>
                <a:lnTo>
                  <a:pt x="6586" y="1298"/>
                </a:lnTo>
                <a:lnTo>
                  <a:pt x="6587" y="1296"/>
                </a:lnTo>
                <a:lnTo>
                  <a:pt x="6589" y="1294"/>
                </a:lnTo>
                <a:lnTo>
                  <a:pt x="6589" y="1291"/>
                </a:lnTo>
                <a:lnTo>
                  <a:pt x="6589" y="633"/>
                </a:lnTo>
                <a:lnTo>
                  <a:pt x="6589" y="633"/>
                </a:lnTo>
                <a:lnTo>
                  <a:pt x="6589" y="631"/>
                </a:lnTo>
                <a:lnTo>
                  <a:pt x="6587" y="629"/>
                </a:lnTo>
                <a:lnTo>
                  <a:pt x="6586" y="627"/>
                </a:lnTo>
                <a:lnTo>
                  <a:pt x="6582" y="627"/>
                </a:lnTo>
                <a:lnTo>
                  <a:pt x="6582" y="627"/>
                </a:lnTo>
                <a:close/>
                <a:moveTo>
                  <a:pt x="7417" y="614"/>
                </a:moveTo>
                <a:lnTo>
                  <a:pt x="7417" y="614"/>
                </a:lnTo>
                <a:lnTo>
                  <a:pt x="7390" y="615"/>
                </a:lnTo>
                <a:lnTo>
                  <a:pt x="7362" y="619"/>
                </a:lnTo>
                <a:lnTo>
                  <a:pt x="7336" y="626"/>
                </a:lnTo>
                <a:lnTo>
                  <a:pt x="7312" y="636"/>
                </a:lnTo>
                <a:lnTo>
                  <a:pt x="7288" y="646"/>
                </a:lnTo>
                <a:lnTo>
                  <a:pt x="7266" y="660"/>
                </a:lnTo>
                <a:lnTo>
                  <a:pt x="7247" y="676"/>
                </a:lnTo>
                <a:lnTo>
                  <a:pt x="7228" y="693"/>
                </a:lnTo>
                <a:lnTo>
                  <a:pt x="7228" y="693"/>
                </a:lnTo>
                <a:lnTo>
                  <a:pt x="7225" y="696"/>
                </a:lnTo>
                <a:lnTo>
                  <a:pt x="7221" y="696"/>
                </a:lnTo>
                <a:lnTo>
                  <a:pt x="7218" y="694"/>
                </a:lnTo>
                <a:lnTo>
                  <a:pt x="7214" y="693"/>
                </a:lnTo>
                <a:lnTo>
                  <a:pt x="7214" y="693"/>
                </a:lnTo>
                <a:lnTo>
                  <a:pt x="7197" y="674"/>
                </a:lnTo>
                <a:lnTo>
                  <a:pt x="7178" y="658"/>
                </a:lnTo>
                <a:lnTo>
                  <a:pt x="7159" y="645"/>
                </a:lnTo>
                <a:lnTo>
                  <a:pt x="7139" y="633"/>
                </a:lnTo>
                <a:lnTo>
                  <a:pt x="7115" y="624"/>
                </a:lnTo>
                <a:lnTo>
                  <a:pt x="7091" y="619"/>
                </a:lnTo>
                <a:lnTo>
                  <a:pt x="7063" y="615"/>
                </a:lnTo>
                <a:lnTo>
                  <a:pt x="7034" y="614"/>
                </a:lnTo>
                <a:lnTo>
                  <a:pt x="7034" y="614"/>
                </a:lnTo>
                <a:lnTo>
                  <a:pt x="7010" y="615"/>
                </a:lnTo>
                <a:lnTo>
                  <a:pt x="6986" y="619"/>
                </a:lnTo>
                <a:lnTo>
                  <a:pt x="6962" y="627"/>
                </a:lnTo>
                <a:lnTo>
                  <a:pt x="6941" y="636"/>
                </a:lnTo>
                <a:lnTo>
                  <a:pt x="6921" y="646"/>
                </a:lnTo>
                <a:lnTo>
                  <a:pt x="6902" y="658"/>
                </a:lnTo>
                <a:lnTo>
                  <a:pt x="6886" y="672"/>
                </a:lnTo>
                <a:lnTo>
                  <a:pt x="6874" y="684"/>
                </a:lnTo>
                <a:lnTo>
                  <a:pt x="6874" y="684"/>
                </a:lnTo>
                <a:lnTo>
                  <a:pt x="6871" y="688"/>
                </a:lnTo>
                <a:lnTo>
                  <a:pt x="6866" y="689"/>
                </a:lnTo>
                <a:lnTo>
                  <a:pt x="6862" y="688"/>
                </a:lnTo>
                <a:lnTo>
                  <a:pt x="6859" y="684"/>
                </a:lnTo>
                <a:lnTo>
                  <a:pt x="6847" y="634"/>
                </a:lnTo>
                <a:lnTo>
                  <a:pt x="6847" y="634"/>
                </a:lnTo>
                <a:lnTo>
                  <a:pt x="6845" y="631"/>
                </a:lnTo>
                <a:lnTo>
                  <a:pt x="6843" y="629"/>
                </a:lnTo>
                <a:lnTo>
                  <a:pt x="6840" y="627"/>
                </a:lnTo>
                <a:lnTo>
                  <a:pt x="6836" y="627"/>
                </a:lnTo>
                <a:lnTo>
                  <a:pt x="6725" y="627"/>
                </a:lnTo>
                <a:lnTo>
                  <a:pt x="6725" y="627"/>
                </a:lnTo>
                <a:lnTo>
                  <a:pt x="6721" y="627"/>
                </a:lnTo>
                <a:lnTo>
                  <a:pt x="6720" y="629"/>
                </a:lnTo>
                <a:lnTo>
                  <a:pt x="6718" y="631"/>
                </a:lnTo>
                <a:lnTo>
                  <a:pt x="6718" y="633"/>
                </a:lnTo>
                <a:lnTo>
                  <a:pt x="6718" y="1291"/>
                </a:lnTo>
                <a:lnTo>
                  <a:pt x="6718" y="1291"/>
                </a:lnTo>
                <a:lnTo>
                  <a:pt x="6718" y="1294"/>
                </a:lnTo>
                <a:lnTo>
                  <a:pt x="6720" y="1296"/>
                </a:lnTo>
                <a:lnTo>
                  <a:pt x="6721" y="1298"/>
                </a:lnTo>
                <a:lnTo>
                  <a:pt x="6725" y="1298"/>
                </a:lnTo>
                <a:lnTo>
                  <a:pt x="6854" y="1298"/>
                </a:lnTo>
                <a:lnTo>
                  <a:pt x="6854" y="1298"/>
                </a:lnTo>
                <a:lnTo>
                  <a:pt x="6855" y="1298"/>
                </a:lnTo>
                <a:lnTo>
                  <a:pt x="6857" y="1296"/>
                </a:lnTo>
                <a:lnTo>
                  <a:pt x="6859" y="1294"/>
                </a:lnTo>
                <a:lnTo>
                  <a:pt x="6859" y="1291"/>
                </a:lnTo>
                <a:lnTo>
                  <a:pt x="6859" y="925"/>
                </a:lnTo>
                <a:lnTo>
                  <a:pt x="6859" y="925"/>
                </a:lnTo>
                <a:lnTo>
                  <a:pt x="6860" y="889"/>
                </a:lnTo>
                <a:lnTo>
                  <a:pt x="6864" y="871"/>
                </a:lnTo>
                <a:lnTo>
                  <a:pt x="6866" y="856"/>
                </a:lnTo>
                <a:lnTo>
                  <a:pt x="6871" y="839"/>
                </a:lnTo>
                <a:lnTo>
                  <a:pt x="6876" y="825"/>
                </a:lnTo>
                <a:lnTo>
                  <a:pt x="6881" y="810"/>
                </a:lnTo>
                <a:lnTo>
                  <a:pt x="6888" y="798"/>
                </a:lnTo>
                <a:lnTo>
                  <a:pt x="6897" y="786"/>
                </a:lnTo>
                <a:lnTo>
                  <a:pt x="6907" y="775"/>
                </a:lnTo>
                <a:lnTo>
                  <a:pt x="6917" y="765"/>
                </a:lnTo>
                <a:lnTo>
                  <a:pt x="6929" y="758"/>
                </a:lnTo>
                <a:lnTo>
                  <a:pt x="6943" y="751"/>
                </a:lnTo>
                <a:lnTo>
                  <a:pt x="6958" y="748"/>
                </a:lnTo>
                <a:lnTo>
                  <a:pt x="6976" y="744"/>
                </a:lnTo>
                <a:lnTo>
                  <a:pt x="6993" y="743"/>
                </a:lnTo>
                <a:lnTo>
                  <a:pt x="6993" y="743"/>
                </a:lnTo>
                <a:lnTo>
                  <a:pt x="7013" y="744"/>
                </a:lnTo>
                <a:lnTo>
                  <a:pt x="7031" y="748"/>
                </a:lnTo>
                <a:lnTo>
                  <a:pt x="7046" y="753"/>
                </a:lnTo>
                <a:lnTo>
                  <a:pt x="7060" y="758"/>
                </a:lnTo>
                <a:lnTo>
                  <a:pt x="7074" y="767"/>
                </a:lnTo>
                <a:lnTo>
                  <a:pt x="7084" y="777"/>
                </a:lnTo>
                <a:lnTo>
                  <a:pt x="7092" y="787"/>
                </a:lnTo>
                <a:lnTo>
                  <a:pt x="7101" y="799"/>
                </a:lnTo>
                <a:lnTo>
                  <a:pt x="7108" y="813"/>
                </a:lnTo>
                <a:lnTo>
                  <a:pt x="7113" y="827"/>
                </a:lnTo>
                <a:lnTo>
                  <a:pt x="7118" y="842"/>
                </a:lnTo>
                <a:lnTo>
                  <a:pt x="7122" y="858"/>
                </a:lnTo>
                <a:lnTo>
                  <a:pt x="7127" y="890"/>
                </a:lnTo>
                <a:lnTo>
                  <a:pt x="7127" y="925"/>
                </a:lnTo>
                <a:lnTo>
                  <a:pt x="7127" y="1291"/>
                </a:lnTo>
                <a:lnTo>
                  <a:pt x="7127" y="1291"/>
                </a:lnTo>
                <a:lnTo>
                  <a:pt x="7128" y="1294"/>
                </a:lnTo>
                <a:lnTo>
                  <a:pt x="7128" y="1296"/>
                </a:lnTo>
                <a:lnTo>
                  <a:pt x="7130" y="1298"/>
                </a:lnTo>
                <a:lnTo>
                  <a:pt x="7134" y="1298"/>
                </a:lnTo>
                <a:lnTo>
                  <a:pt x="7264" y="1298"/>
                </a:lnTo>
                <a:lnTo>
                  <a:pt x="7264" y="1298"/>
                </a:lnTo>
                <a:lnTo>
                  <a:pt x="7268" y="1296"/>
                </a:lnTo>
                <a:lnTo>
                  <a:pt x="7269" y="1294"/>
                </a:lnTo>
                <a:lnTo>
                  <a:pt x="7271" y="1291"/>
                </a:lnTo>
                <a:lnTo>
                  <a:pt x="7271" y="925"/>
                </a:lnTo>
                <a:lnTo>
                  <a:pt x="7271" y="925"/>
                </a:lnTo>
                <a:lnTo>
                  <a:pt x="7273" y="889"/>
                </a:lnTo>
                <a:lnTo>
                  <a:pt x="7276" y="856"/>
                </a:lnTo>
                <a:lnTo>
                  <a:pt x="7280" y="839"/>
                </a:lnTo>
                <a:lnTo>
                  <a:pt x="7285" y="825"/>
                </a:lnTo>
                <a:lnTo>
                  <a:pt x="7290" y="810"/>
                </a:lnTo>
                <a:lnTo>
                  <a:pt x="7297" y="798"/>
                </a:lnTo>
                <a:lnTo>
                  <a:pt x="7305" y="786"/>
                </a:lnTo>
                <a:lnTo>
                  <a:pt x="7314" y="775"/>
                </a:lnTo>
                <a:lnTo>
                  <a:pt x="7324" y="765"/>
                </a:lnTo>
                <a:lnTo>
                  <a:pt x="7338" y="758"/>
                </a:lnTo>
                <a:lnTo>
                  <a:pt x="7352" y="751"/>
                </a:lnTo>
                <a:lnTo>
                  <a:pt x="7367" y="748"/>
                </a:lnTo>
                <a:lnTo>
                  <a:pt x="7384" y="744"/>
                </a:lnTo>
                <a:lnTo>
                  <a:pt x="7403" y="743"/>
                </a:lnTo>
                <a:lnTo>
                  <a:pt x="7403" y="743"/>
                </a:lnTo>
                <a:lnTo>
                  <a:pt x="7424" y="744"/>
                </a:lnTo>
                <a:lnTo>
                  <a:pt x="7441" y="748"/>
                </a:lnTo>
                <a:lnTo>
                  <a:pt x="7457" y="753"/>
                </a:lnTo>
                <a:lnTo>
                  <a:pt x="7472" y="760"/>
                </a:lnTo>
                <a:lnTo>
                  <a:pt x="7484" y="767"/>
                </a:lnTo>
                <a:lnTo>
                  <a:pt x="7494" y="777"/>
                </a:lnTo>
                <a:lnTo>
                  <a:pt x="7505" y="789"/>
                </a:lnTo>
                <a:lnTo>
                  <a:pt x="7513" y="801"/>
                </a:lnTo>
                <a:lnTo>
                  <a:pt x="7520" y="813"/>
                </a:lnTo>
                <a:lnTo>
                  <a:pt x="7525" y="828"/>
                </a:lnTo>
                <a:lnTo>
                  <a:pt x="7531" y="842"/>
                </a:lnTo>
                <a:lnTo>
                  <a:pt x="7534" y="859"/>
                </a:lnTo>
                <a:lnTo>
                  <a:pt x="7537" y="892"/>
                </a:lnTo>
                <a:lnTo>
                  <a:pt x="7539" y="925"/>
                </a:lnTo>
                <a:lnTo>
                  <a:pt x="7539" y="1291"/>
                </a:lnTo>
                <a:lnTo>
                  <a:pt x="7539" y="1291"/>
                </a:lnTo>
                <a:lnTo>
                  <a:pt x="7539" y="1294"/>
                </a:lnTo>
                <a:lnTo>
                  <a:pt x="7541" y="1296"/>
                </a:lnTo>
                <a:lnTo>
                  <a:pt x="7543" y="1298"/>
                </a:lnTo>
                <a:lnTo>
                  <a:pt x="7546" y="1298"/>
                </a:lnTo>
                <a:lnTo>
                  <a:pt x="7673" y="1298"/>
                </a:lnTo>
                <a:lnTo>
                  <a:pt x="7673" y="1298"/>
                </a:lnTo>
                <a:lnTo>
                  <a:pt x="7677" y="1298"/>
                </a:lnTo>
                <a:lnTo>
                  <a:pt x="7678" y="1296"/>
                </a:lnTo>
                <a:lnTo>
                  <a:pt x="7680" y="1294"/>
                </a:lnTo>
                <a:lnTo>
                  <a:pt x="7680" y="1291"/>
                </a:lnTo>
                <a:lnTo>
                  <a:pt x="7680" y="921"/>
                </a:lnTo>
                <a:lnTo>
                  <a:pt x="7680" y="921"/>
                </a:lnTo>
                <a:lnTo>
                  <a:pt x="7680" y="883"/>
                </a:lnTo>
                <a:lnTo>
                  <a:pt x="7677" y="849"/>
                </a:lnTo>
                <a:lnTo>
                  <a:pt x="7671" y="818"/>
                </a:lnTo>
                <a:lnTo>
                  <a:pt x="7663" y="787"/>
                </a:lnTo>
                <a:lnTo>
                  <a:pt x="7654" y="760"/>
                </a:lnTo>
                <a:lnTo>
                  <a:pt x="7642" y="734"/>
                </a:lnTo>
                <a:lnTo>
                  <a:pt x="7628" y="712"/>
                </a:lnTo>
                <a:lnTo>
                  <a:pt x="7613" y="691"/>
                </a:lnTo>
                <a:lnTo>
                  <a:pt x="7594" y="672"/>
                </a:lnTo>
                <a:lnTo>
                  <a:pt x="7575" y="657"/>
                </a:lnTo>
                <a:lnTo>
                  <a:pt x="7553" y="645"/>
                </a:lnTo>
                <a:lnTo>
                  <a:pt x="7529" y="633"/>
                </a:lnTo>
                <a:lnTo>
                  <a:pt x="7505" y="624"/>
                </a:lnTo>
                <a:lnTo>
                  <a:pt x="7477" y="619"/>
                </a:lnTo>
                <a:lnTo>
                  <a:pt x="7448" y="614"/>
                </a:lnTo>
                <a:lnTo>
                  <a:pt x="7417" y="614"/>
                </a:lnTo>
                <a:lnTo>
                  <a:pt x="7417" y="614"/>
                </a:lnTo>
                <a:close/>
                <a:moveTo>
                  <a:pt x="5867" y="627"/>
                </a:moveTo>
                <a:lnTo>
                  <a:pt x="5739" y="627"/>
                </a:lnTo>
                <a:lnTo>
                  <a:pt x="5739" y="627"/>
                </a:lnTo>
                <a:lnTo>
                  <a:pt x="5735" y="627"/>
                </a:lnTo>
                <a:lnTo>
                  <a:pt x="5733" y="629"/>
                </a:lnTo>
                <a:lnTo>
                  <a:pt x="5732" y="631"/>
                </a:lnTo>
                <a:lnTo>
                  <a:pt x="5732" y="633"/>
                </a:lnTo>
                <a:lnTo>
                  <a:pt x="5732" y="1291"/>
                </a:lnTo>
                <a:lnTo>
                  <a:pt x="5732" y="1291"/>
                </a:lnTo>
                <a:lnTo>
                  <a:pt x="5732" y="1294"/>
                </a:lnTo>
                <a:lnTo>
                  <a:pt x="5733" y="1296"/>
                </a:lnTo>
                <a:lnTo>
                  <a:pt x="5735" y="1298"/>
                </a:lnTo>
                <a:lnTo>
                  <a:pt x="5739" y="1298"/>
                </a:lnTo>
                <a:lnTo>
                  <a:pt x="5867" y="1298"/>
                </a:lnTo>
                <a:lnTo>
                  <a:pt x="5867" y="1298"/>
                </a:lnTo>
                <a:lnTo>
                  <a:pt x="5871" y="1298"/>
                </a:lnTo>
                <a:lnTo>
                  <a:pt x="5873" y="1296"/>
                </a:lnTo>
                <a:lnTo>
                  <a:pt x="5874" y="1294"/>
                </a:lnTo>
                <a:lnTo>
                  <a:pt x="5874" y="1291"/>
                </a:lnTo>
                <a:lnTo>
                  <a:pt x="5874" y="633"/>
                </a:lnTo>
                <a:lnTo>
                  <a:pt x="5874" y="633"/>
                </a:lnTo>
                <a:lnTo>
                  <a:pt x="5874" y="631"/>
                </a:lnTo>
                <a:lnTo>
                  <a:pt x="5873" y="629"/>
                </a:lnTo>
                <a:lnTo>
                  <a:pt x="5871" y="627"/>
                </a:lnTo>
                <a:lnTo>
                  <a:pt x="5867" y="627"/>
                </a:lnTo>
                <a:lnTo>
                  <a:pt x="5867" y="627"/>
                </a:lnTo>
                <a:close/>
                <a:moveTo>
                  <a:pt x="5804" y="368"/>
                </a:moveTo>
                <a:lnTo>
                  <a:pt x="5804" y="368"/>
                </a:lnTo>
                <a:lnTo>
                  <a:pt x="5785" y="370"/>
                </a:lnTo>
                <a:lnTo>
                  <a:pt x="5769" y="375"/>
                </a:lnTo>
                <a:lnTo>
                  <a:pt x="5754" y="382"/>
                </a:lnTo>
                <a:lnTo>
                  <a:pt x="5742" y="392"/>
                </a:lnTo>
                <a:lnTo>
                  <a:pt x="5732" y="406"/>
                </a:lnTo>
                <a:lnTo>
                  <a:pt x="5723" y="419"/>
                </a:lnTo>
                <a:lnTo>
                  <a:pt x="5718" y="437"/>
                </a:lnTo>
                <a:lnTo>
                  <a:pt x="5716" y="454"/>
                </a:lnTo>
                <a:lnTo>
                  <a:pt x="5716" y="454"/>
                </a:lnTo>
                <a:lnTo>
                  <a:pt x="5718" y="471"/>
                </a:lnTo>
                <a:lnTo>
                  <a:pt x="5723" y="486"/>
                </a:lnTo>
                <a:lnTo>
                  <a:pt x="5732" y="502"/>
                </a:lnTo>
                <a:lnTo>
                  <a:pt x="5742" y="514"/>
                </a:lnTo>
                <a:lnTo>
                  <a:pt x="5754" y="524"/>
                </a:lnTo>
                <a:lnTo>
                  <a:pt x="5769" y="533"/>
                </a:lnTo>
                <a:lnTo>
                  <a:pt x="5785" y="538"/>
                </a:lnTo>
                <a:lnTo>
                  <a:pt x="5804" y="540"/>
                </a:lnTo>
                <a:lnTo>
                  <a:pt x="5804" y="540"/>
                </a:lnTo>
                <a:lnTo>
                  <a:pt x="5821" y="538"/>
                </a:lnTo>
                <a:lnTo>
                  <a:pt x="5836" y="533"/>
                </a:lnTo>
                <a:lnTo>
                  <a:pt x="5852" y="524"/>
                </a:lnTo>
                <a:lnTo>
                  <a:pt x="5864" y="514"/>
                </a:lnTo>
                <a:lnTo>
                  <a:pt x="5874" y="502"/>
                </a:lnTo>
                <a:lnTo>
                  <a:pt x="5883" y="486"/>
                </a:lnTo>
                <a:lnTo>
                  <a:pt x="5888" y="471"/>
                </a:lnTo>
                <a:lnTo>
                  <a:pt x="5890" y="454"/>
                </a:lnTo>
                <a:lnTo>
                  <a:pt x="5890" y="454"/>
                </a:lnTo>
                <a:lnTo>
                  <a:pt x="5888" y="437"/>
                </a:lnTo>
                <a:lnTo>
                  <a:pt x="5883" y="419"/>
                </a:lnTo>
                <a:lnTo>
                  <a:pt x="5874" y="406"/>
                </a:lnTo>
                <a:lnTo>
                  <a:pt x="5864" y="392"/>
                </a:lnTo>
                <a:lnTo>
                  <a:pt x="5852" y="382"/>
                </a:lnTo>
                <a:lnTo>
                  <a:pt x="5836" y="375"/>
                </a:lnTo>
                <a:lnTo>
                  <a:pt x="5821" y="370"/>
                </a:lnTo>
                <a:lnTo>
                  <a:pt x="5804" y="368"/>
                </a:lnTo>
                <a:lnTo>
                  <a:pt x="5804" y="368"/>
                </a:lnTo>
                <a:close/>
                <a:moveTo>
                  <a:pt x="967" y="0"/>
                </a:moveTo>
                <a:lnTo>
                  <a:pt x="967" y="0"/>
                </a:lnTo>
                <a:lnTo>
                  <a:pt x="917" y="0"/>
                </a:lnTo>
                <a:lnTo>
                  <a:pt x="868" y="5"/>
                </a:lnTo>
                <a:lnTo>
                  <a:pt x="820" y="10"/>
                </a:lnTo>
                <a:lnTo>
                  <a:pt x="771" y="19"/>
                </a:lnTo>
                <a:lnTo>
                  <a:pt x="725" y="29"/>
                </a:lnTo>
                <a:lnTo>
                  <a:pt x="679" y="43"/>
                </a:lnTo>
                <a:lnTo>
                  <a:pt x="634" y="58"/>
                </a:lnTo>
                <a:lnTo>
                  <a:pt x="591" y="76"/>
                </a:lnTo>
                <a:lnTo>
                  <a:pt x="548" y="95"/>
                </a:lnTo>
                <a:lnTo>
                  <a:pt x="505" y="117"/>
                </a:lnTo>
                <a:lnTo>
                  <a:pt x="466" y="139"/>
                </a:lnTo>
                <a:lnTo>
                  <a:pt x="426" y="165"/>
                </a:lnTo>
                <a:lnTo>
                  <a:pt x="388" y="193"/>
                </a:lnTo>
                <a:lnTo>
                  <a:pt x="352" y="220"/>
                </a:lnTo>
                <a:lnTo>
                  <a:pt x="316" y="251"/>
                </a:lnTo>
                <a:lnTo>
                  <a:pt x="283" y="284"/>
                </a:lnTo>
                <a:lnTo>
                  <a:pt x="251" y="316"/>
                </a:lnTo>
                <a:lnTo>
                  <a:pt x="220" y="352"/>
                </a:lnTo>
                <a:lnTo>
                  <a:pt x="192" y="388"/>
                </a:lnTo>
                <a:lnTo>
                  <a:pt x="165" y="426"/>
                </a:lnTo>
                <a:lnTo>
                  <a:pt x="139" y="466"/>
                </a:lnTo>
                <a:lnTo>
                  <a:pt x="117" y="505"/>
                </a:lnTo>
                <a:lnTo>
                  <a:pt x="94" y="548"/>
                </a:lnTo>
                <a:lnTo>
                  <a:pt x="76" y="591"/>
                </a:lnTo>
                <a:lnTo>
                  <a:pt x="58" y="634"/>
                </a:lnTo>
                <a:lnTo>
                  <a:pt x="43" y="679"/>
                </a:lnTo>
                <a:lnTo>
                  <a:pt x="29" y="725"/>
                </a:lnTo>
                <a:lnTo>
                  <a:pt x="19" y="772"/>
                </a:lnTo>
                <a:lnTo>
                  <a:pt x="10" y="820"/>
                </a:lnTo>
                <a:lnTo>
                  <a:pt x="5" y="868"/>
                </a:lnTo>
                <a:lnTo>
                  <a:pt x="0" y="918"/>
                </a:lnTo>
                <a:lnTo>
                  <a:pt x="0" y="968"/>
                </a:lnTo>
                <a:lnTo>
                  <a:pt x="0" y="968"/>
                </a:lnTo>
                <a:lnTo>
                  <a:pt x="0" y="1018"/>
                </a:lnTo>
                <a:lnTo>
                  <a:pt x="5" y="1067"/>
                </a:lnTo>
                <a:lnTo>
                  <a:pt x="10" y="1116"/>
                </a:lnTo>
                <a:lnTo>
                  <a:pt x="19" y="1162"/>
                </a:lnTo>
                <a:lnTo>
                  <a:pt x="29" y="1210"/>
                </a:lnTo>
                <a:lnTo>
                  <a:pt x="43" y="1255"/>
                </a:lnTo>
                <a:lnTo>
                  <a:pt x="58" y="1301"/>
                </a:lnTo>
                <a:lnTo>
                  <a:pt x="76" y="1344"/>
                </a:lnTo>
                <a:lnTo>
                  <a:pt x="94" y="1387"/>
                </a:lnTo>
                <a:lnTo>
                  <a:pt x="117" y="1428"/>
                </a:lnTo>
                <a:lnTo>
                  <a:pt x="139" y="1470"/>
                </a:lnTo>
                <a:lnTo>
                  <a:pt x="165" y="1509"/>
                </a:lnTo>
                <a:lnTo>
                  <a:pt x="192" y="1547"/>
                </a:lnTo>
                <a:lnTo>
                  <a:pt x="220" y="1583"/>
                </a:lnTo>
                <a:lnTo>
                  <a:pt x="251" y="1619"/>
                </a:lnTo>
                <a:lnTo>
                  <a:pt x="283" y="1652"/>
                </a:lnTo>
                <a:lnTo>
                  <a:pt x="316" y="1684"/>
                </a:lnTo>
                <a:lnTo>
                  <a:pt x="352" y="1715"/>
                </a:lnTo>
                <a:lnTo>
                  <a:pt x="388" y="1743"/>
                </a:lnTo>
                <a:lnTo>
                  <a:pt x="426" y="1770"/>
                </a:lnTo>
                <a:lnTo>
                  <a:pt x="466" y="1796"/>
                </a:lnTo>
                <a:lnTo>
                  <a:pt x="505" y="1819"/>
                </a:lnTo>
                <a:lnTo>
                  <a:pt x="548" y="1841"/>
                </a:lnTo>
                <a:lnTo>
                  <a:pt x="591" y="1860"/>
                </a:lnTo>
                <a:lnTo>
                  <a:pt x="634" y="1877"/>
                </a:lnTo>
                <a:lnTo>
                  <a:pt x="679" y="1892"/>
                </a:lnTo>
                <a:lnTo>
                  <a:pt x="725" y="1904"/>
                </a:lnTo>
                <a:lnTo>
                  <a:pt x="771" y="1916"/>
                </a:lnTo>
                <a:lnTo>
                  <a:pt x="820" y="1925"/>
                </a:lnTo>
                <a:lnTo>
                  <a:pt x="868" y="1930"/>
                </a:lnTo>
                <a:lnTo>
                  <a:pt x="917" y="1934"/>
                </a:lnTo>
                <a:lnTo>
                  <a:pt x="967" y="1935"/>
                </a:lnTo>
                <a:lnTo>
                  <a:pt x="967" y="1935"/>
                </a:lnTo>
                <a:lnTo>
                  <a:pt x="1017" y="1934"/>
                </a:lnTo>
                <a:lnTo>
                  <a:pt x="1067" y="1930"/>
                </a:lnTo>
                <a:lnTo>
                  <a:pt x="1115" y="1925"/>
                </a:lnTo>
                <a:lnTo>
                  <a:pt x="1161" y="1916"/>
                </a:lnTo>
                <a:lnTo>
                  <a:pt x="1210" y="1904"/>
                </a:lnTo>
                <a:lnTo>
                  <a:pt x="1254" y="1892"/>
                </a:lnTo>
                <a:lnTo>
                  <a:pt x="1301" y="1877"/>
                </a:lnTo>
                <a:lnTo>
                  <a:pt x="1344" y="1860"/>
                </a:lnTo>
                <a:lnTo>
                  <a:pt x="1387" y="1841"/>
                </a:lnTo>
                <a:lnTo>
                  <a:pt x="1428" y="1819"/>
                </a:lnTo>
                <a:lnTo>
                  <a:pt x="1469" y="1796"/>
                </a:lnTo>
                <a:lnTo>
                  <a:pt x="1509" y="1770"/>
                </a:lnTo>
                <a:lnTo>
                  <a:pt x="1546" y="1743"/>
                </a:lnTo>
                <a:lnTo>
                  <a:pt x="1582" y="1715"/>
                </a:lnTo>
                <a:lnTo>
                  <a:pt x="1618" y="1684"/>
                </a:lnTo>
                <a:lnTo>
                  <a:pt x="1651" y="1652"/>
                </a:lnTo>
                <a:lnTo>
                  <a:pt x="1684" y="1619"/>
                </a:lnTo>
                <a:lnTo>
                  <a:pt x="1715" y="1583"/>
                </a:lnTo>
                <a:lnTo>
                  <a:pt x="1742" y="1547"/>
                </a:lnTo>
                <a:lnTo>
                  <a:pt x="1770" y="1509"/>
                </a:lnTo>
                <a:lnTo>
                  <a:pt x="1795" y="1470"/>
                </a:lnTo>
                <a:lnTo>
                  <a:pt x="1818" y="1428"/>
                </a:lnTo>
                <a:lnTo>
                  <a:pt x="1840" y="1387"/>
                </a:lnTo>
                <a:lnTo>
                  <a:pt x="1859" y="1344"/>
                </a:lnTo>
                <a:lnTo>
                  <a:pt x="1876" y="1301"/>
                </a:lnTo>
                <a:lnTo>
                  <a:pt x="1892" y="1255"/>
                </a:lnTo>
                <a:lnTo>
                  <a:pt x="1904" y="1210"/>
                </a:lnTo>
                <a:lnTo>
                  <a:pt x="1916" y="1162"/>
                </a:lnTo>
                <a:lnTo>
                  <a:pt x="1924" y="1116"/>
                </a:lnTo>
                <a:lnTo>
                  <a:pt x="1929" y="1067"/>
                </a:lnTo>
                <a:lnTo>
                  <a:pt x="1933" y="1018"/>
                </a:lnTo>
                <a:lnTo>
                  <a:pt x="1935" y="968"/>
                </a:lnTo>
                <a:lnTo>
                  <a:pt x="1935" y="968"/>
                </a:lnTo>
                <a:lnTo>
                  <a:pt x="1933" y="918"/>
                </a:lnTo>
                <a:lnTo>
                  <a:pt x="1929" y="868"/>
                </a:lnTo>
                <a:lnTo>
                  <a:pt x="1924" y="820"/>
                </a:lnTo>
                <a:lnTo>
                  <a:pt x="1916" y="772"/>
                </a:lnTo>
                <a:lnTo>
                  <a:pt x="1904" y="725"/>
                </a:lnTo>
                <a:lnTo>
                  <a:pt x="1892" y="679"/>
                </a:lnTo>
                <a:lnTo>
                  <a:pt x="1876" y="634"/>
                </a:lnTo>
                <a:lnTo>
                  <a:pt x="1859" y="591"/>
                </a:lnTo>
                <a:lnTo>
                  <a:pt x="1840" y="548"/>
                </a:lnTo>
                <a:lnTo>
                  <a:pt x="1818" y="505"/>
                </a:lnTo>
                <a:lnTo>
                  <a:pt x="1795" y="466"/>
                </a:lnTo>
                <a:lnTo>
                  <a:pt x="1770" y="426"/>
                </a:lnTo>
                <a:lnTo>
                  <a:pt x="1742" y="388"/>
                </a:lnTo>
                <a:lnTo>
                  <a:pt x="1715" y="352"/>
                </a:lnTo>
                <a:lnTo>
                  <a:pt x="1684" y="316"/>
                </a:lnTo>
                <a:lnTo>
                  <a:pt x="1651" y="284"/>
                </a:lnTo>
                <a:lnTo>
                  <a:pt x="1618" y="251"/>
                </a:lnTo>
                <a:lnTo>
                  <a:pt x="1582" y="220"/>
                </a:lnTo>
                <a:lnTo>
                  <a:pt x="1546" y="193"/>
                </a:lnTo>
                <a:lnTo>
                  <a:pt x="1509" y="165"/>
                </a:lnTo>
                <a:lnTo>
                  <a:pt x="1469" y="139"/>
                </a:lnTo>
                <a:lnTo>
                  <a:pt x="1428" y="117"/>
                </a:lnTo>
                <a:lnTo>
                  <a:pt x="1387" y="95"/>
                </a:lnTo>
                <a:lnTo>
                  <a:pt x="1344" y="76"/>
                </a:lnTo>
                <a:lnTo>
                  <a:pt x="1301" y="58"/>
                </a:lnTo>
                <a:lnTo>
                  <a:pt x="1254" y="43"/>
                </a:lnTo>
                <a:lnTo>
                  <a:pt x="1210" y="29"/>
                </a:lnTo>
                <a:lnTo>
                  <a:pt x="1161" y="19"/>
                </a:lnTo>
                <a:lnTo>
                  <a:pt x="1115" y="10"/>
                </a:lnTo>
                <a:lnTo>
                  <a:pt x="1067" y="5"/>
                </a:lnTo>
                <a:lnTo>
                  <a:pt x="1017" y="0"/>
                </a:lnTo>
                <a:lnTo>
                  <a:pt x="967" y="0"/>
                </a:lnTo>
                <a:lnTo>
                  <a:pt x="967" y="0"/>
                </a:lnTo>
                <a:close/>
                <a:moveTo>
                  <a:pt x="711" y="1224"/>
                </a:moveTo>
                <a:lnTo>
                  <a:pt x="711" y="1224"/>
                </a:lnTo>
                <a:lnTo>
                  <a:pt x="686" y="1196"/>
                </a:lnTo>
                <a:lnTo>
                  <a:pt x="665" y="1167"/>
                </a:lnTo>
                <a:lnTo>
                  <a:pt x="646" y="1136"/>
                </a:lnTo>
                <a:lnTo>
                  <a:pt x="631" y="1103"/>
                </a:lnTo>
                <a:lnTo>
                  <a:pt x="619" y="1071"/>
                </a:lnTo>
                <a:lnTo>
                  <a:pt x="612" y="1036"/>
                </a:lnTo>
                <a:lnTo>
                  <a:pt x="606" y="1002"/>
                </a:lnTo>
                <a:lnTo>
                  <a:pt x="605" y="968"/>
                </a:lnTo>
                <a:lnTo>
                  <a:pt x="606" y="933"/>
                </a:lnTo>
                <a:lnTo>
                  <a:pt x="612" y="899"/>
                </a:lnTo>
                <a:lnTo>
                  <a:pt x="619" y="865"/>
                </a:lnTo>
                <a:lnTo>
                  <a:pt x="631" y="830"/>
                </a:lnTo>
                <a:lnTo>
                  <a:pt x="646" y="799"/>
                </a:lnTo>
                <a:lnTo>
                  <a:pt x="665" y="768"/>
                </a:lnTo>
                <a:lnTo>
                  <a:pt x="686" y="739"/>
                </a:lnTo>
                <a:lnTo>
                  <a:pt x="711" y="712"/>
                </a:lnTo>
                <a:lnTo>
                  <a:pt x="711" y="712"/>
                </a:lnTo>
                <a:lnTo>
                  <a:pt x="739" y="686"/>
                </a:lnTo>
                <a:lnTo>
                  <a:pt x="768" y="665"/>
                </a:lnTo>
                <a:lnTo>
                  <a:pt x="799" y="646"/>
                </a:lnTo>
                <a:lnTo>
                  <a:pt x="830" y="631"/>
                </a:lnTo>
                <a:lnTo>
                  <a:pt x="864" y="619"/>
                </a:lnTo>
                <a:lnTo>
                  <a:pt x="899" y="612"/>
                </a:lnTo>
                <a:lnTo>
                  <a:pt x="933" y="607"/>
                </a:lnTo>
                <a:lnTo>
                  <a:pt x="967" y="605"/>
                </a:lnTo>
                <a:lnTo>
                  <a:pt x="1002" y="607"/>
                </a:lnTo>
                <a:lnTo>
                  <a:pt x="1036" y="612"/>
                </a:lnTo>
                <a:lnTo>
                  <a:pt x="1070" y="619"/>
                </a:lnTo>
                <a:lnTo>
                  <a:pt x="1103" y="631"/>
                </a:lnTo>
                <a:lnTo>
                  <a:pt x="1136" y="646"/>
                </a:lnTo>
                <a:lnTo>
                  <a:pt x="1167" y="665"/>
                </a:lnTo>
                <a:lnTo>
                  <a:pt x="1196" y="686"/>
                </a:lnTo>
                <a:lnTo>
                  <a:pt x="1223" y="712"/>
                </a:lnTo>
                <a:lnTo>
                  <a:pt x="1223" y="712"/>
                </a:lnTo>
                <a:lnTo>
                  <a:pt x="1249" y="739"/>
                </a:lnTo>
                <a:lnTo>
                  <a:pt x="1270" y="768"/>
                </a:lnTo>
                <a:lnTo>
                  <a:pt x="1289" y="799"/>
                </a:lnTo>
                <a:lnTo>
                  <a:pt x="1304" y="830"/>
                </a:lnTo>
                <a:lnTo>
                  <a:pt x="1314" y="865"/>
                </a:lnTo>
                <a:lnTo>
                  <a:pt x="1323" y="899"/>
                </a:lnTo>
                <a:lnTo>
                  <a:pt x="1328" y="933"/>
                </a:lnTo>
                <a:lnTo>
                  <a:pt x="1330" y="968"/>
                </a:lnTo>
                <a:lnTo>
                  <a:pt x="1328" y="1002"/>
                </a:lnTo>
                <a:lnTo>
                  <a:pt x="1323" y="1036"/>
                </a:lnTo>
                <a:lnTo>
                  <a:pt x="1314" y="1071"/>
                </a:lnTo>
                <a:lnTo>
                  <a:pt x="1304" y="1103"/>
                </a:lnTo>
                <a:lnTo>
                  <a:pt x="1289" y="1136"/>
                </a:lnTo>
                <a:lnTo>
                  <a:pt x="1270" y="1167"/>
                </a:lnTo>
                <a:lnTo>
                  <a:pt x="1249" y="1196"/>
                </a:lnTo>
                <a:lnTo>
                  <a:pt x="1223" y="1224"/>
                </a:lnTo>
                <a:lnTo>
                  <a:pt x="1223" y="1224"/>
                </a:lnTo>
                <a:lnTo>
                  <a:pt x="1196" y="1250"/>
                </a:lnTo>
                <a:lnTo>
                  <a:pt x="1167" y="1270"/>
                </a:lnTo>
                <a:lnTo>
                  <a:pt x="1136" y="1289"/>
                </a:lnTo>
                <a:lnTo>
                  <a:pt x="1103" y="1305"/>
                </a:lnTo>
                <a:lnTo>
                  <a:pt x="1070" y="1315"/>
                </a:lnTo>
                <a:lnTo>
                  <a:pt x="1036" y="1324"/>
                </a:lnTo>
                <a:lnTo>
                  <a:pt x="1002" y="1329"/>
                </a:lnTo>
                <a:lnTo>
                  <a:pt x="967" y="1330"/>
                </a:lnTo>
                <a:lnTo>
                  <a:pt x="933" y="1329"/>
                </a:lnTo>
                <a:lnTo>
                  <a:pt x="899" y="1324"/>
                </a:lnTo>
                <a:lnTo>
                  <a:pt x="864" y="1315"/>
                </a:lnTo>
                <a:lnTo>
                  <a:pt x="830" y="1305"/>
                </a:lnTo>
                <a:lnTo>
                  <a:pt x="799" y="1289"/>
                </a:lnTo>
                <a:lnTo>
                  <a:pt x="768" y="1270"/>
                </a:lnTo>
                <a:lnTo>
                  <a:pt x="739" y="1250"/>
                </a:lnTo>
                <a:lnTo>
                  <a:pt x="711" y="1224"/>
                </a:lnTo>
                <a:lnTo>
                  <a:pt x="711" y="1224"/>
                </a:lnTo>
                <a:close/>
                <a:moveTo>
                  <a:pt x="1438" y="1619"/>
                </a:moveTo>
                <a:lnTo>
                  <a:pt x="1438" y="1619"/>
                </a:lnTo>
                <a:lnTo>
                  <a:pt x="1419" y="1619"/>
                </a:lnTo>
                <a:lnTo>
                  <a:pt x="1400" y="1616"/>
                </a:lnTo>
                <a:lnTo>
                  <a:pt x="1383" y="1612"/>
                </a:lnTo>
                <a:lnTo>
                  <a:pt x="1368" y="1605"/>
                </a:lnTo>
                <a:lnTo>
                  <a:pt x="1350" y="1599"/>
                </a:lnTo>
                <a:lnTo>
                  <a:pt x="1337" y="1588"/>
                </a:lnTo>
                <a:lnTo>
                  <a:pt x="1323" y="1578"/>
                </a:lnTo>
                <a:lnTo>
                  <a:pt x="1309" y="1566"/>
                </a:lnTo>
                <a:lnTo>
                  <a:pt x="1297" y="1554"/>
                </a:lnTo>
                <a:lnTo>
                  <a:pt x="1287" y="1540"/>
                </a:lnTo>
                <a:lnTo>
                  <a:pt x="1278" y="1525"/>
                </a:lnTo>
                <a:lnTo>
                  <a:pt x="1270" y="1509"/>
                </a:lnTo>
                <a:lnTo>
                  <a:pt x="1265" y="1492"/>
                </a:lnTo>
                <a:lnTo>
                  <a:pt x="1259" y="1475"/>
                </a:lnTo>
                <a:lnTo>
                  <a:pt x="1258" y="1458"/>
                </a:lnTo>
                <a:lnTo>
                  <a:pt x="1256" y="1439"/>
                </a:lnTo>
                <a:lnTo>
                  <a:pt x="1256" y="1439"/>
                </a:lnTo>
                <a:lnTo>
                  <a:pt x="1258" y="1420"/>
                </a:lnTo>
                <a:lnTo>
                  <a:pt x="1259" y="1401"/>
                </a:lnTo>
                <a:lnTo>
                  <a:pt x="1265" y="1384"/>
                </a:lnTo>
                <a:lnTo>
                  <a:pt x="1270" y="1368"/>
                </a:lnTo>
                <a:lnTo>
                  <a:pt x="1278" y="1351"/>
                </a:lnTo>
                <a:lnTo>
                  <a:pt x="1287" y="1337"/>
                </a:lnTo>
                <a:lnTo>
                  <a:pt x="1297" y="1324"/>
                </a:lnTo>
                <a:lnTo>
                  <a:pt x="1309" y="1310"/>
                </a:lnTo>
                <a:lnTo>
                  <a:pt x="1323" y="1298"/>
                </a:lnTo>
                <a:lnTo>
                  <a:pt x="1337" y="1287"/>
                </a:lnTo>
                <a:lnTo>
                  <a:pt x="1350" y="1279"/>
                </a:lnTo>
                <a:lnTo>
                  <a:pt x="1368" y="1270"/>
                </a:lnTo>
                <a:lnTo>
                  <a:pt x="1383" y="1265"/>
                </a:lnTo>
                <a:lnTo>
                  <a:pt x="1400" y="1260"/>
                </a:lnTo>
                <a:lnTo>
                  <a:pt x="1419" y="1258"/>
                </a:lnTo>
                <a:lnTo>
                  <a:pt x="1438" y="1256"/>
                </a:lnTo>
                <a:lnTo>
                  <a:pt x="1438" y="1256"/>
                </a:lnTo>
                <a:lnTo>
                  <a:pt x="1457" y="1258"/>
                </a:lnTo>
                <a:lnTo>
                  <a:pt x="1474" y="1260"/>
                </a:lnTo>
                <a:lnTo>
                  <a:pt x="1491" y="1265"/>
                </a:lnTo>
                <a:lnTo>
                  <a:pt x="1509" y="1270"/>
                </a:lnTo>
                <a:lnTo>
                  <a:pt x="1524" y="1279"/>
                </a:lnTo>
                <a:lnTo>
                  <a:pt x="1539" y="1287"/>
                </a:lnTo>
                <a:lnTo>
                  <a:pt x="1553" y="1298"/>
                </a:lnTo>
                <a:lnTo>
                  <a:pt x="1565" y="1310"/>
                </a:lnTo>
                <a:lnTo>
                  <a:pt x="1577" y="1324"/>
                </a:lnTo>
                <a:lnTo>
                  <a:pt x="1588" y="1337"/>
                </a:lnTo>
                <a:lnTo>
                  <a:pt x="1598" y="1351"/>
                </a:lnTo>
                <a:lnTo>
                  <a:pt x="1605" y="1368"/>
                </a:lnTo>
                <a:lnTo>
                  <a:pt x="1612" y="1384"/>
                </a:lnTo>
                <a:lnTo>
                  <a:pt x="1615" y="1401"/>
                </a:lnTo>
                <a:lnTo>
                  <a:pt x="1618" y="1420"/>
                </a:lnTo>
                <a:lnTo>
                  <a:pt x="1618" y="1439"/>
                </a:lnTo>
                <a:lnTo>
                  <a:pt x="1618" y="1439"/>
                </a:lnTo>
                <a:lnTo>
                  <a:pt x="1618" y="1458"/>
                </a:lnTo>
                <a:lnTo>
                  <a:pt x="1615" y="1475"/>
                </a:lnTo>
                <a:lnTo>
                  <a:pt x="1612" y="1492"/>
                </a:lnTo>
                <a:lnTo>
                  <a:pt x="1605" y="1509"/>
                </a:lnTo>
                <a:lnTo>
                  <a:pt x="1598" y="1525"/>
                </a:lnTo>
                <a:lnTo>
                  <a:pt x="1588" y="1540"/>
                </a:lnTo>
                <a:lnTo>
                  <a:pt x="1577" y="1554"/>
                </a:lnTo>
                <a:lnTo>
                  <a:pt x="1565" y="1566"/>
                </a:lnTo>
                <a:lnTo>
                  <a:pt x="1553" y="1578"/>
                </a:lnTo>
                <a:lnTo>
                  <a:pt x="1539" y="1588"/>
                </a:lnTo>
                <a:lnTo>
                  <a:pt x="1524" y="1599"/>
                </a:lnTo>
                <a:lnTo>
                  <a:pt x="1509" y="1605"/>
                </a:lnTo>
                <a:lnTo>
                  <a:pt x="1491" y="1612"/>
                </a:lnTo>
                <a:lnTo>
                  <a:pt x="1474" y="1616"/>
                </a:lnTo>
                <a:lnTo>
                  <a:pt x="1457" y="1619"/>
                </a:lnTo>
                <a:lnTo>
                  <a:pt x="1438" y="1619"/>
                </a:lnTo>
                <a:lnTo>
                  <a:pt x="1438" y="1619"/>
                </a:lnTo>
                <a:close/>
                <a:moveTo>
                  <a:pt x="1823" y="1702"/>
                </a:moveTo>
                <a:lnTo>
                  <a:pt x="1823" y="1702"/>
                </a:lnTo>
                <a:lnTo>
                  <a:pt x="1811" y="1703"/>
                </a:lnTo>
                <a:lnTo>
                  <a:pt x="1799" y="1705"/>
                </a:lnTo>
                <a:lnTo>
                  <a:pt x="1787" y="1709"/>
                </a:lnTo>
                <a:lnTo>
                  <a:pt x="1775" y="1712"/>
                </a:lnTo>
                <a:lnTo>
                  <a:pt x="1765" y="1717"/>
                </a:lnTo>
                <a:lnTo>
                  <a:pt x="1754" y="1722"/>
                </a:lnTo>
                <a:lnTo>
                  <a:pt x="1746" y="1731"/>
                </a:lnTo>
                <a:lnTo>
                  <a:pt x="1737" y="1738"/>
                </a:lnTo>
                <a:lnTo>
                  <a:pt x="1728" y="1746"/>
                </a:lnTo>
                <a:lnTo>
                  <a:pt x="1722" y="1755"/>
                </a:lnTo>
                <a:lnTo>
                  <a:pt x="1716" y="1765"/>
                </a:lnTo>
                <a:lnTo>
                  <a:pt x="1711" y="1776"/>
                </a:lnTo>
                <a:lnTo>
                  <a:pt x="1708" y="1788"/>
                </a:lnTo>
                <a:lnTo>
                  <a:pt x="1704" y="1800"/>
                </a:lnTo>
                <a:lnTo>
                  <a:pt x="1703" y="1812"/>
                </a:lnTo>
                <a:lnTo>
                  <a:pt x="1701" y="1824"/>
                </a:lnTo>
                <a:lnTo>
                  <a:pt x="1701" y="1824"/>
                </a:lnTo>
                <a:lnTo>
                  <a:pt x="1703" y="1836"/>
                </a:lnTo>
                <a:lnTo>
                  <a:pt x="1704" y="1848"/>
                </a:lnTo>
                <a:lnTo>
                  <a:pt x="1708" y="1860"/>
                </a:lnTo>
                <a:lnTo>
                  <a:pt x="1711" y="1870"/>
                </a:lnTo>
                <a:lnTo>
                  <a:pt x="1716" y="1880"/>
                </a:lnTo>
                <a:lnTo>
                  <a:pt x="1722" y="1891"/>
                </a:lnTo>
                <a:lnTo>
                  <a:pt x="1728" y="1901"/>
                </a:lnTo>
                <a:lnTo>
                  <a:pt x="1737" y="1910"/>
                </a:lnTo>
                <a:lnTo>
                  <a:pt x="1746" y="1916"/>
                </a:lnTo>
                <a:lnTo>
                  <a:pt x="1754" y="1923"/>
                </a:lnTo>
                <a:lnTo>
                  <a:pt x="1765" y="1930"/>
                </a:lnTo>
                <a:lnTo>
                  <a:pt x="1775" y="1935"/>
                </a:lnTo>
                <a:lnTo>
                  <a:pt x="1787" y="1939"/>
                </a:lnTo>
                <a:lnTo>
                  <a:pt x="1799" y="1942"/>
                </a:lnTo>
                <a:lnTo>
                  <a:pt x="1811" y="1944"/>
                </a:lnTo>
                <a:lnTo>
                  <a:pt x="1823" y="1944"/>
                </a:lnTo>
                <a:lnTo>
                  <a:pt x="1823" y="1944"/>
                </a:lnTo>
                <a:lnTo>
                  <a:pt x="1835" y="1944"/>
                </a:lnTo>
                <a:lnTo>
                  <a:pt x="1847" y="1942"/>
                </a:lnTo>
                <a:lnTo>
                  <a:pt x="1859" y="1939"/>
                </a:lnTo>
                <a:lnTo>
                  <a:pt x="1869" y="1935"/>
                </a:lnTo>
                <a:lnTo>
                  <a:pt x="1880" y="1930"/>
                </a:lnTo>
                <a:lnTo>
                  <a:pt x="1890" y="1923"/>
                </a:lnTo>
                <a:lnTo>
                  <a:pt x="1900" y="1916"/>
                </a:lnTo>
                <a:lnTo>
                  <a:pt x="1909" y="1910"/>
                </a:lnTo>
                <a:lnTo>
                  <a:pt x="1916" y="1901"/>
                </a:lnTo>
                <a:lnTo>
                  <a:pt x="1923" y="1891"/>
                </a:lnTo>
                <a:lnTo>
                  <a:pt x="1929" y="1880"/>
                </a:lnTo>
                <a:lnTo>
                  <a:pt x="1935" y="1870"/>
                </a:lnTo>
                <a:lnTo>
                  <a:pt x="1938" y="1860"/>
                </a:lnTo>
                <a:lnTo>
                  <a:pt x="1941" y="1848"/>
                </a:lnTo>
                <a:lnTo>
                  <a:pt x="1943" y="1836"/>
                </a:lnTo>
                <a:lnTo>
                  <a:pt x="1943" y="1824"/>
                </a:lnTo>
                <a:lnTo>
                  <a:pt x="1943" y="1824"/>
                </a:lnTo>
                <a:lnTo>
                  <a:pt x="1943" y="1812"/>
                </a:lnTo>
                <a:lnTo>
                  <a:pt x="1941" y="1800"/>
                </a:lnTo>
                <a:lnTo>
                  <a:pt x="1938" y="1788"/>
                </a:lnTo>
                <a:lnTo>
                  <a:pt x="1935" y="1776"/>
                </a:lnTo>
                <a:lnTo>
                  <a:pt x="1929" y="1765"/>
                </a:lnTo>
                <a:lnTo>
                  <a:pt x="1923" y="1755"/>
                </a:lnTo>
                <a:lnTo>
                  <a:pt x="1916" y="1746"/>
                </a:lnTo>
                <a:lnTo>
                  <a:pt x="1909" y="1738"/>
                </a:lnTo>
                <a:lnTo>
                  <a:pt x="1900" y="1731"/>
                </a:lnTo>
                <a:lnTo>
                  <a:pt x="1890" y="1722"/>
                </a:lnTo>
                <a:lnTo>
                  <a:pt x="1880" y="1717"/>
                </a:lnTo>
                <a:lnTo>
                  <a:pt x="1869" y="1712"/>
                </a:lnTo>
                <a:lnTo>
                  <a:pt x="1859" y="1709"/>
                </a:lnTo>
                <a:lnTo>
                  <a:pt x="1847" y="1705"/>
                </a:lnTo>
                <a:lnTo>
                  <a:pt x="1835" y="1703"/>
                </a:lnTo>
                <a:lnTo>
                  <a:pt x="1823" y="1702"/>
                </a:lnTo>
                <a:lnTo>
                  <a:pt x="1823" y="1702"/>
                </a:lnTo>
                <a:close/>
              </a:path>
            </a:pathLst>
          </a:custGeom>
          <a:solidFill>
            <a:srgbClr val="00000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 name="TextBox 9">
            <a:extLst>
              <a:ext uri="{FF2B5EF4-FFF2-40B4-BE49-F238E27FC236}">
                <a16:creationId xmlns:a16="http://schemas.microsoft.com/office/drawing/2014/main" id="{DF6C1450-CD8C-4FF1-9B58-9038D4ABC120}"/>
              </a:ext>
            </a:extLst>
          </p:cNvPr>
          <p:cNvSpPr txBox="1"/>
          <p:nvPr/>
        </p:nvSpPr>
        <p:spPr>
          <a:xfrm>
            <a:off x="1489075" y="6470371"/>
            <a:ext cx="914400" cy="151091"/>
          </a:xfrm>
          <a:prstGeom prst="rect">
            <a:avLst/>
          </a:prstGeom>
          <a:noFill/>
        </p:spPr>
        <p:txBody>
          <a:bodyPr wrap="none" lIns="0" tIns="0" rIns="0" bIns="0" rtlCol="0" anchor="ctr">
            <a:noAutofit/>
          </a:bodyPr>
          <a:lstStyle/>
          <a:p>
            <a:pPr algn="r"/>
            <a:r>
              <a:rPr lang="en-AU" sz="1050">
                <a:latin typeface="Roboto Light" panose="02000000000000000000" pitchFamily="2" charset="0"/>
                <a:ea typeface="Roboto Light" panose="02000000000000000000" pitchFamily="2" charset="0"/>
              </a:rPr>
              <a:t>health outcomes</a:t>
            </a:r>
          </a:p>
        </p:txBody>
      </p:sp>
      <p:sp>
        <p:nvSpPr>
          <p:cNvPr id="11" name="Content Placeholder 2">
            <a:extLst>
              <a:ext uri="{FF2B5EF4-FFF2-40B4-BE49-F238E27FC236}">
                <a16:creationId xmlns:a16="http://schemas.microsoft.com/office/drawing/2014/main" id="{3136338E-1D58-4045-818B-9553EE8303F3}"/>
              </a:ext>
            </a:extLst>
          </p:cNvPr>
          <p:cNvSpPr>
            <a:spLocks noGrp="1"/>
          </p:cNvSpPr>
          <p:nvPr>
            <p:ph idx="10" hasCustomPrompt="1"/>
          </p:nvPr>
        </p:nvSpPr>
        <p:spPr>
          <a:xfrm>
            <a:off x="972543" y="1693088"/>
            <a:ext cx="5639196" cy="1735912"/>
          </a:xfrm>
          <a:prstGeom prst="rect">
            <a:avLst/>
          </a:prstGeom>
        </p:spPr>
        <p:txBody>
          <a:bodyPr lIns="0" tIns="0">
            <a:noAutofit/>
          </a:bodyPr>
          <a:lstStyle>
            <a:lvl1pPr marL="0" indent="0">
              <a:lnSpc>
                <a:spcPct val="100000"/>
              </a:lnSpc>
              <a:buSzPct val="100000"/>
              <a:buFontTx/>
              <a:buNone/>
              <a:defRPr sz="1400">
                <a:latin typeface="+mj-lt"/>
              </a:defRPr>
            </a:lvl1pPr>
            <a:lvl2pPr marL="371475" indent="0">
              <a:buFont typeface="+mj-lt"/>
              <a:buNone/>
              <a:defRPr sz="1200">
                <a:latin typeface="+mj-lt"/>
              </a:defRPr>
            </a:lvl2pPr>
            <a:lvl3pPr marL="742950" indent="0">
              <a:buFontTx/>
              <a:buNone/>
              <a:defRPr/>
            </a:lvl3pPr>
            <a:lvl4pPr marL="1114425" indent="0">
              <a:buFontTx/>
              <a:buNone/>
              <a:defRPr/>
            </a:lvl4pPr>
            <a:lvl5pPr marL="1485900" indent="0">
              <a:buFontTx/>
              <a:buNone/>
              <a:defRPr/>
            </a:lvl5pPr>
          </a:lstStyle>
          <a:p>
            <a:pPr lvl="0"/>
            <a:r>
              <a:rPr lang="en-AU"/>
              <a:t>Insert content here</a:t>
            </a:r>
          </a:p>
        </p:txBody>
      </p:sp>
    </p:spTree>
    <p:extLst>
      <p:ext uri="{BB962C8B-B14F-4D97-AF65-F5344CB8AC3E}">
        <p14:creationId xmlns:p14="http://schemas.microsoft.com/office/powerpoint/2010/main" val="32809842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Pull quot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36D23CE-6896-4656-8E69-6C2993C76C78}"/>
              </a:ext>
            </a:extLst>
          </p:cNvPr>
          <p:cNvSpPr/>
          <p:nvPr/>
        </p:nvSpPr>
        <p:spPr>
          <a:xfrm>
            <a:off x="601712" y="3"/>
            <a:ext cx="9304285" cy="24669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63"/>
          </a:p>
        </p:txBody>
      </p:sp>
      <p:sp>
        <p:nvSpPr>
          <p:cNvPr id="13" name="Content Placeholder 2">
            <a:extLst>
              <a:ext uri="{FF2B5EF4-FFF2-40B4-BE49-F238E27FC236}">
                <a16:creationId xmlns:a16="http://schemas.microsoft.com/office/drawing/2014/main" id="{356AEB63-1547-4AED-BC3C-EB5369F95ADF}"/>
              </a:ext>
            </a:extLst>
          </p:cNvPr>
          <p:cNvSpPr>
            <a:spLocks noGrp="1"/>
          </p:cNvSpPr>
          <p:nvPr>
            <p:ph idx="13"/>
          </p:nvPr>
        </p:nvSpPr>
        <p:spPr>
          <a:xfrm>
            <a:off x="2142353" y="2912882"/>
            <a:ext cx="6192619" cy="2466974"/>
          </a:xfrm>
          <a:prstGeom prst="rect">
            <a:avLst/>
          </a:prstGeom>
        </p:spPr>
        <p:txBody>
          <a:bodyPr lIns="0" tIns="0"/>
          <a:lstStyle>
            <a:lvl1pPr marL="0" indent="0">
              <a:lnSpc>
                <a:spcPct val="100000"/>
              </a:lnSpc>
              <a:buFontTx/>
              <a:buNone/>
              <a:defRPr sz="2600">
                <a:latin typeface="Roboto Light" panose="02000000000000000000" pitchFamily="2" charset="0"/>
                <a:ea typeface="Roboto Light" panose="02000000000000000000" pitchFamily="2" charset="0"/>
              </a:defRPr>
            </a:lvl1pPr>
            <a:lvl2pPr marL="371475" indent="0">
              <a:buFontTx/>
              <a:buNone/>
              <a:defRPr/>
            </a:lvl2pPr>
            <a:lvl3pPr marL="742950" indent="0">
              <a:buFontTx/>
              <a:buNone/>
              <a:defRPr/>
            </a:lvl3pPr>
            <a:lvl4pPr marL="1114425" indent="0">
              <a:buFontTx/>
              <a:buNone/>
              <a:defRPr/>
            </a:lvl4pPr>
            <a:lvl5pPr marL="1485900" indent="0">
              <a:buFontTx/>
              <a:buNone/>
              <a:defRPr/>
            </a:lvl5pPr>
          </a:lstStyle>
          <a:p>
            <a:pPr lvl="0"/>
            <a:r>
              <a:rPr lang="en-US"/>
              <a:t>Edit Master text styles</a:t>
            </a:r>
          </a:p>
        </p:txBody>
      </p:sp>
      <p:sp>
        <p:nvSpPr>
          <p:cNvPr id="5" name="Content Placeholder 2">
            <a:extLst>
              <a:ext uri="{FF2B5EF4-FFF2-40B4-BE49-F238E27FC236}">
                <a16:creationId xmlns:a16="http://schemas.microsoft.com/office/drawing/2014/main" id="{BBB94F4C-E273-4C1E-AB03-2A92E56CFD2A}"/>
              </a:ext>
            </a:extLst>
          </p:cNvPr>
          <p:cNvSpPr>
            <a:spLocks noGrp="1"/>
          </p:cNvSpPr>
          <p:nvPr>
            <p:ph idx="1" hasCustomPrompt="1"/>
          </p:nvPr>
        </p:nvSpPr>
        <p:spPr>
          <a:xfrm>
            <a:off x="972542" y="453373"/>
            <a:ext cx="8515945" cy="830681"/>
          </a:xfrm>
          <a:prstGeom prst="rect">
            <a:avLst/>
          </a:prstGeom>
        </p:spPr>
        <p:txBody>
          <a:bodyPr lIns="0" tIns="0">
            <a:noAutofit/>
          </a:bodyPr>
          <a:lstStyle>
            <a:lvl1pPr marL="0" indent="0">
              <a:lnSpc>
                <a:spcPct val="100000"/>
              </a:lnSpc>
              <a:buFontTx/>
              <a:buNone/>
              <a:defRPr sz="2400"/>
            </a:lvl1pPr>
            <a:lvl2pPr marL="371475" indent="0">
              <a:buFontTx/>
              <a:buNone/>
              <a:defRPr/>
            </a:lvl2pPr>
            <a:lvl3pPr marL="742950" indent="0">
              <a:buFontTx/>
              <a:buNone/>
              <a:defRPr/>
            </a:lvl3pPr>
            <a:lvl4pPr marL="1114425" indent="0">
              <a:buFontTx/>
              <a:buNone/>
              <a:defRPr/>
            </a:lvl4pPr>
            <a:lvl5pPr marL="1485900" indent="0">
              <a:buFontTx/>
              <a:buNone/>
              <a:defRPr/>
            </a:lvl5pPr>
          </a:lstStyle>
          <a:p>
            <a:pPr lvl="0"/>
            <a:r>
              <a:rPr lang="en-AU"/>
              <a:t>Insert page heading (max two lines)</a:t>
            </a:r>
            <a:endParaRPr lang="en-US"/>
          </a:p>
        </p:txBody>
      </p:sp>
    </p:spTree>
    <p:extLst>
      <p:ext uri="{BB962C8B-B14F-4D97-AF65-F5344CB8AC3E}">
        <p14:creationId xmlns:p14="http://schemas.microsoft.com/office/powerpoint/2010/main" val="26375845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ntent and highl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50A2AA3-20AC-4A6B-B965-571AF7E4BC4D}"/>
              </a:ext>
            </a:extLst>
          </p:cNvPr>
          <p:cNvSpPr/>
          <p:nvPr/>
        </p:nvSpPr>
        <p:spPr>
          <a:xfrm>
            <a:off x="601712" y="3835401"/>
            <a:ext cx="9304285" cy="302259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63"/>
          </a:p>
        </p:txBody>
      </p:sp>
      <p:sp>
        <p:nvSpPr>
          <p:cNvPr id="5" name="Freeform 5">
            <a:extLst>
              <a:ext uri="{FF2B5EF4-FFF2-40B4-BE49-F238E27FC236}">
                <a16:creationId xmlns:a16="http://schemas.microsoft.com/office/drawing/2014/main" id="{41193BF9-7113-48AB-8DD9-BD99088088D5}"/>
              </a:ext>
            </a:extLst>
          </p:cNvPr>
          <p:cNvSpPr>
            <a:spLocks noEditPoints="1"/>
          </p:cNvSpPr>
          <p:nvPr/>
        </p:nvSpPr>
        <p:spPr bwMode="auto">
          <a:xfrm>
            <a:off x="981075" y="6197254"/>
            <a:ext cx="1422400" cy="360045"/>
          </a:xfrm>
          <a:custGeom>
            <a:avLst/>
            <a:gdLst>
              <a:gd name="T0" fmla="*/ 2610 w 7680"/>
              <a:gd name="T1" fmla="*/ 614 h 1944"/>
              <a:gd name="T2" fmla="*/ 2335 w 7680"/>
              <a:gd name="T3" fmla="*/ 1134 h 1944"/>
              <a:gd name="T4" fmla="*/ 2792 w 7680"/>
              <a:gd name="T5" fmla="*/ 1241 h 1944"/>
              <a:gd name="T6" fmla="*/ 2938 w 7680"/>
              <a:gd name="T7" fmla="*/ 627 h 1944"/>
              <a:gd name="T8" fmla="*/ 2445 w 7680"/>
              <a:gd name="T9" fmla="*/ 916 h 1944"/>
              <a:gd name="T10" fmla="*/ 2747 w 7680"/>
              <a:gd name="T11" fmla="*/ 791 h 1944"/>
              <a:gd name="T12" fmla="*/ 2704 w 7680"/>
              <a:gd name="T13" fmla="*/ 1165 h 1944"/>
              <a:gd name="T14" fmla="*/ 3472 w 7680"/>
              <a:gd name="T15" fmla="*/ 1126 h 1944"/>
              <a:gd name="T16" fmla="*/ 3196 w 7680"/>
              <a:gd name="T17" fmla="*/ 1047 h 1944"/>
              <a:gd name="T18" fmla="*/ 3074 w 7680"/>
              <a:gd name="T19" fmla="*/ 1145 h 1944"/>
              <a:gd name="T20" fmla="*/ 3502 w 7680"/>
              <a:gd name="T21" fmla="*/ 1238 h 1944"/>
              <a:gd name="T22" fmla="*/ 4441 w 7680"/>
              <a:gd name="T23" fmla="*/ 1176 h 1944"/>
              <a:gd name="T24" fmla="*/ 4244 w 7680"/>
              <a:gd name="T25" fmla="*/ 648 h 1944"/>
              <a:gd name="T26" fmla="*/ 3778 w 7680"/>
              <a:gd name="T27" fmla="*/ 818 h 1944"/>
              <a:gd name="T28" fmla="*/ 3974 w 7680"/>
              <a:gd name="T29" fmla="*/ 761 h 1944"/>
              <a:gd name="T30" fmla="*/ 4223 w 7680"/>
              <a:gd name="T31" fmla="*/ 854 h 1944"/>
              <a:gd name="T32" fmla="*/ 3773 w 7680"/>
              <a:gd name="T33" fmla="*/ 1018 h 1944"/>
              <a:gd name="T34" fmla="*/ 4019 w 7680"/>
              <a:gd name="T35" fmla="*/ 1311 h 1944"/>
              <a:gd name="T36" fmla="*/ 4388 w 7680"/>
              <a:gd name="T37" fmla="*/ 1298 h 1944"/>
              <a:gd name="T38" fmla="*/ 4187 w 7680"/>
              <a:gd name="T39" fmla="*/ 1119 h 1944"/>
              <a:gd name="T40" fmla="*/ 3898 w 7680"/>
              <a:gd name="T41" fmla="*/ 1114 h 1944"/>
              <a:gd name="T42" fmla="*/ 4223 w 7680"/>
              <a:gd name="T43" fmla="*/ 1012 h 1944"/>
              <a:gd name="T44" fmla="*/ 4553 w 7680"/>
              <a:gd name="T45" fmla="*/ 627 h 1944"/>
              <a:gd name="T46" fmla="*/ 4694 w 7680"/>
              <a:gd name="T47" fmla="*/ 871 h 1944"/>
              <a:gd name="T48" fmla="*/ 4974 w 7680"/>
              <a:gd name="T49" fmla="*/ 801 h 1944"/>
              <a:gd name="T50" fmla="*/ 5154 w 7680"/>
              <a:gd name="T51" fmla="*/ 928 h 1944"/>
              <a:gd name="T52" fmla="*/ 5470 w 7680"/>
              <a:gd name="T53" fmla="*/ 624 h 1944"/>
              <a:gd name="T54" fmla="*/ 5206 w 7680"/>
              <a:gd name="T55" fmla="*/ 627 h 1944"/>
              <a:gd name="T56" fmla="*/ 5335 w 7680"/>
              <a:gd name="T57" fmla="*/ 1196 h 1944"/>
              <a:gd name="T58" fmla="*/ 5618 w 7680"/>
              <a:gd name="T59" fmla="*/ 1171 h 1944"/>
              <a:gd name="T60" fmla="*/ 5618 w 7680"/>
              <a:gd name="T61" fmla="*/ 744 h 1944"/>
              <a:gd name="T62" fmla="*/ 6438 w 7680"/>
              <a:gd name="T63" fmla="*/ 1069 h 1944"/>
              <a:gd name="T64" fmla="*/ 6153 w 7680"/>
              <a:gd name="T65" fmla="*/ 1109 h 1944"/>
              <a:gd name="T66" fmla="*/ 5982 w 7680"/>
              <a:gd name="T67" fmla="*/ 1028 h 1944"/>
              <a:gd name="T68" fmla="*/ 6405 w 7680"/>
              <a:gd name="T69" fmla="*/ 1265 h 1944"/>
              <a:gd name="T70" fmla="*/ 6587 w 7680"/>
              <a:gd name="T71" fmla="*/ 629 h 1944"/>
              <a:gd name="T72" fmla="*/ 7159 w 7680"/>
              <a:gd name="T73" fmla="*/ 645 h 1944"/>
              <a:gd name="T74" fmla="*/ 6845 w 7680"/>
              <a:gd name="T75" fmla="*/ 631 h 1944"/>
              <a:gd name="T76" fmla="*/ 6859 w 7680"/>
              <a:gd name="T77" fmla="*/ 925 h 1944"/>
              <a:gd name="T78" fmla="*/ 7074 w 7680"/>
              <a:gd name="T79" fmla="*/ 767 h 1944"/>
              <a:gd name="T80" fmla="*/ 7271 w 7680"/>
              <a:gd name="T81" fmla="*/ 925 h 1944"/>
              <a:gd name="T82" fmla="*/ 7505 w 7680"/>
              <a:gd name="T83" fmla="*/ 789 h 1944"/>
              <a:gd name="T84" fmla="*/ 7680 w 7680"/>
              <a:gd name="T85" fmla="*/ 883 h 1944"/>
              <a:gd name="T86" fmla="*/ 5732 w 7680"/>
              <a:gd name="T87" fmla="*/ 631 h 1944"/>
              <a:gd name="T88" fmla="*/ 5804 w 7680"/>
              <a:gd name="T89" fmla="*/ 368 h 1944"/>
              <a:gd name="T90" fmla="*/ 5864 w 7680"/>
              <a:gd name="T91" fmla="*/ 514 h 1944"/>
              <a:gd name="T92" fmla="*/ 679 w 7680"/>
              <a:gd name="T93" fmla="*/ 43 h 1944"/>
              <a:gd name="T94" fmla="*/ 19 w 7680"/>
              <a:gd name="T95" fmla="*/ 772 h 1944"/>
              <a:gd name="T96" fmla="*/ 316 w 7680"/>
              <a:gd name="T97" fmla="*/ 1684 h 1944"/>
              <a:gd name="T98" fmla="*/ 1254 w 7680"/>
              <a:gd name="T99" fmla="*/ 1892 h 1944"/>
              <a:gd name="T100" fmla="*/ 1916 w 7680"/>
              <a:gd name="T101" fmla="*/ 1162 h 1944"/>
              <a:gd name="T102" fmla="*/ 1618 w 7680"/>
              <a:gd name="T103" fmla="*/ 251 h 1944"/>
              <a:gd name="T104" fmla="*/ 631 w 7680"/>
              <a:gd name="T105" fmla="*/ 1103 h 1944"/>
              <a:gd name="T106" fmla="*/ 1002 w 7680"/>
              <a:gd name="T107" fmla="*/ 607 h 1944"/>
              <a:gd name="T108" fmla="*/ 1270 w 7680"/>
              <a:gd name="T109" fmla="*/ 1167 h 1944"/>
              <a:gd name="T110" fmla="*/ 1438 w 7680"/>
              <a:gd name="T111" fmla="*/ 1619 h 1944"/>
              <a:gd name="T112" fmla="*/ 1278 w 7680"/>
              <a:gd name="T113" fmla="*/ 1351 h 1944"/>
              <a:gd name="T114" fmla="*/ 1588 w 7680"/>
              <a:gd name="T115" fmla="*/ 1337 h 1944"/>
              <a:gd name="T116" fmla="*/ 1457 w 7680"/>
              <a:gd name="T117" fmla="*/ 1619 h 1944"/>
              <a:gd name="T118" fmla="*/ 1703 w 7680"/>
              <a:gd name="T119" fmla="*/ 1836 h 1944"/>
              <a:gd name="T120" fmla="*/ 1890 w 7680"/>
              <a:gd name="T121" fmla="*/ 1923 h 1944"/>
              <a:gd name="T122" fmla="*/ 1880 w 7680"/>
              <a:gd name="T123" fmla="*/ 1717 h 1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80" h="1944">
                <a:moveTo>
                  <a:pt x="2938" y="627"/>
                </a:moveTo>
                <a:lnTo>
                  <a:pt x="2826" y="627"/>
                </a:lnTo>
                <a:lnTo>
                  <a:pt x="2826" y="627"/>
                </a:lnTo>
                <a:lnTo>
                  <a:pt x="2819" y="627"/>
                </a:lnTo>
                <a:lnTo>
                  <a:pt x="2818" y="629"/>
                </a:lnTo>
                <a:lnTo>
                  <a:pt x="2816" y="633"/>
                </a:lnTo>
                <a:lnTo>
                  <a:pt x="2804" y="681"/>
                </a:lnTo>
                <a:lnTo>
                  <a:pt x="2804" y="681"/>
                </a:lnTo>
                <a:lnTo>
                  <a:pt x="2801" y="684"/>
                </a:lnTo>
                <a:lnTo>
                  <a:pt x="2797" y="686"/>
                </a:lnTo>
                <a:lnTo>
                  <a:pt x="2794" y="686"/>
                </a:lnTo>
                <a:lnTo>
                  <a:pt x="2789" y="682"/>
                </a:lnTo>
                <a:lnTo>
                  <a:pt x="2789" y="682"/>
                </a:lnTo>
                <a:lnTo>
                  <a:pt x="2773" y="669"/>
                </a:lnTo>
                <a:lnTo>
                  <a:pt x="2756" y="657"/>
                </a:lnTo>
                <a:lnTo>
                  <a:pt x="2734" y="645"/>
                </a:lnTo>
                <a:lnTo>
                  <a:pt x="2711" y="634"/>
                </a:lnTo>
                <a:lnTo>
                  <a:pt x="2687" y="626"/>
                </a:lnTo>
                <a:lnTo>
                  <a:pt x="2661" y="619"/>
                </a:lnTo>
                <a:lnTo>
                  <a:pt x="2636" y="615"/>
                </a:lnTo>
                <a:lnTo>
                  <a:pt x="2610" y="614"/>
                </a:lnTo>
                <a:lnTo>
                  <a:pt x="2610" y="614"/>
                </a:lnTo>
                <a:lnTo>
                  <a:pt x="2575" y="615"/>
                </a:lnTo>
                <a:lnTo>
                  <a:pt x="2541" y="620"/>
                </a:lnTo>
                <a:lnTo>
                  <a:pt x="2510" y="627"/>
                </a:lnTo>
                <a:lnTo>
                  <a:pt x="2481" y="639"/>
                </a:lnTo>
                <a:lnTo>
                  <a:pt x="2453" y="653"/>
                </a:lnTo>
                <a:lnTo>
                  <a:pt x="2428" y="669"/>
                </a:lnTo>
                <a:lnTo>
                  <a:pt x="2404" y="688"/>
                </a:lnTo>
                <a:lnTo>
                  <a:pt x="2383" y="710"/>
                </a:lnTo>
                <a:lnTo>
                  <a:pt x="2364" y="734"/>
                </a:lnTo>
                <a:lnTo>
                  <a:pt x="2347" y="761"/>
                </a:lnTo>
                <a:lnTo>
                  <a:pt x="2333" y="789"/>
                </a:lnTo>
                <a:lnTo>
                  <a:pt x="2321" y="820"/>
                </a:lnTo>
                <a:lnTo>
                  <a:pt x="2311" y="853"/>
                </a:lnTo>
                <a:lnTo>
                  <a:pt x="2304" y="889"/>
                </a:lnTo>
                <a:lnTo>
                  <a:pt x="2301" y="925"/>
                </a:lnTo>
                <a:lnTo>
                  <a:pt x="2299" y="963"/>
                </a:lnTo>
                <a:lnTo>
                  <a:pt x="2299" y="963"/>
                </a:lnTo>
                <a:lnTo>
                  <a:pt x="2301" y="1000"/>
                </a:lnTo>
                <a:lnTo>
                  <a:pt x="2306" y="1036"/>
                </a:lnTo>
                <a:lnTo>
                  <a:pt x="2313" y="1071"/>
                </a:lnTo>
                <a:lnTo>
                  <a:pt x="2321" y="1103"/>
                </a:lnTo>
                <a:lnTo>
                  <a:pt x="2335" y="1134"/>
                </a:lnTo>
                <a:lnTo>
                  <a:pt x="2349" y="1164"/>
                </a:lnTo>
                <a:lnTo>
                  <a:pt x="2366" y="1189"/>
                </a:lnTo>
                <a:lnTo>
                  <a:pt x="2385" y="1215"/>
                </a:lnTo>
                <a:lnTo>
                  <a:pt x="2407" y="1236"/>
                </a:lnTo>
                <a:lnTo>
                  <a:pt x="2431" y="1255"/>
                </a:lnTo>
                <a:lnTo>
                  <a:pt x="2455" y="1272"/>
                </a:lnTo>
                <a:lnTo>
                  <a:pt x="2483" y="1286"/>
                </a:lnTo>
                <a:lnTo>
                  <a:pt x="2512" y="1296"/>
                </a:lnTo>
                <a:lnTo>
                  <a:pt x="2543" y="1305"/>
                </a:lnTo>
                <a:lnTo>
                  <a:pt x="2575" y="1310"/>
                </a:lnTo>
                <a:lnTo>
                  <a:pt x="2610" y="1311"/>
                </a:lnTo>
                <a:lnTo>
                  <a:pt x="2610" y="1311"/>
                </a:lnTo>
                <a:lnTo>
                  <a:pt x="2630" y="1310"/>
                </a:lnTo>
                <a:lnTo>
                  <a:pt x="2649" y="1308"/>
                </a:lnTo>
                <a:lnTo>
                  <a:pt x="2667" y="1305"/>
                </a:lnTo>
                <a:lnTo>
                  <a:pt x="2684" y="1301"/>
                </a:lnTo>
                <a:lnTo>
                  <a:pt x="2715" y="1291"/>
                </a:lnTo>
                <a:lnTo>
                  <a:pt x="2740" y="1279"/>
                </a:lnTo>
                <a:lnTo>
                  <a:pt x="2761" y="1267"/>
                </a:lnTo>
                <a:lnTo>
                  <a:pt x="2776" y="1255"/>
                </a:lnTo>
                <a:lnTo>
                  <a:pt x="2792" y="1241"/>
                </a:lnTo>
                <a:lnTo>
                  <a:pt x="2792" y="1241"/>
                </a:lnTo>
                <a:lnTo>
                  <a:pt x="2795" y="1239"/>
                </a:lnTo>
                <a:lnTo>
                  <a:pt x="2799" y="1239"/>
                </a:lnTo>
                <a:lnTo>
                  <a:pt x="2802" y="1243"/>
                </a:lnTo>
                <a:lnTo>
                  <a:pt x="2804" y="1244"/>
                </a:lnTo>
                <a:lnTo>
                  <a:pt x="2804" y="1554"/>
                </a:lnTo>
                <a:lnTo>
                  <a:pt x="2804" y="1554"/>
                </a:lnTo>
                <a:lnTo>
                  <a:pt x="2804" y="1557"/>
                </a:lnTo>
                <a:lnTo>
                  <a:pt x="2806" y="1559"/>
                </a:lnTo>
                <a:lnTo>
                  <a:pt x="2807" y="1561"/>
                </a:lnTo>
                <a:lnTo>
                  <a:pt x="2809" y="1561"/>
                </a:lnTo>
                <a:lnTo>
                  <a:pt x="2938" y="1561"/>
                </a:lnTo>
                <a:lnTo>
                  <a:pt x="2938" y="1561"/>
                </a:lnTo>
                <a:lnTo>
                  <a:pt x="2941" y="1561"/>
                </a:lnTo>
                <a:lnTo>
                  <a:pt x="2943" y="1559"/>
                </a:lnTo>
                <a:lnTo>
                  <a:pt x="2945" y="1557"/>
                </a:lnTo>
                <a:lnTo>
                  <a:pt x="2945" y="1554"/>
                </a:lnTo>
                <a:lnTo>
                  <a:pt x="2945" y="633"/>
                </a:lnTo>
                <a:lnTo>
                  <a:pt x="2945" y="633"/>
                </a:lnTo>
                <a:lnTo>
                  <a:pt x="2945" y="631"/>
                </a:lnTo>
                <a:lnTo>
                  <a:pt x="2943" y="629"/>
                </a:lnTo>
                <a:lnTo>
                  <a:pt x="2941" y="627"/>
                </a:lnTo>
                <a:lnTo>
                  <a:pt x="2938" y="627"/>
                </a:lnTo>
                <a:lnTo>
                  <a:pt x="2938" y="627"/>
                </a:lnTo>
                <a:close/>
                <a:moveTo>
                  <a:pt x="2629" y="1181"/>
                </a:moveTo>
                <a:lnTo>
                  <a:pt x="2629" y="1181"/>
                </a:lnTo>
                <a:lnTo>
                  <a:pt x="2608" y="1181"/>
                </a:lnTo>
                <a:lnTo>
                  <a:pt x="2587" y="1177"/>
                </a:lnTo>
                <a:lnTo>
                  <a:pt x="2567" y="1172"/>
                </a:lnTo>
                <a:lnTo>
                  <a:pt x="2550" y="1165"/>
                </a:lnTo>
                <a:lnTo>
                  <a:pt x="2533" y="1157"/>
                </a:lnTo>
                <a:lnTo>
                  <a:pt x="2517" y="1146"/>
                </a:lnTo>
                <a:lnTo>
                  <a:pt x="2503" y="1134"/>
                </a:lnTo>
                <a:lnTo>
                  <a:pt x="2491" y="1121"/>
                </a:lnTo>
                <a:lnTo>
                  <a:pt x="2479" y="1105"/>
                </a:lnTo>
                <a:lnTo>
                  <a:pt x="2471" y="1088"/>
                </a:lnTo>
                <a:lnTo>
                  <a:pt x="2462" y="1071"/>
                </a:lnTo>
                <a:lnTo>
                  <a:pt x="2455" y="1050"/>
                </a:lnTo>
                <a:lnTo>
                  <a:pt x="2450" y="1030"/>
                </a:lnTo>
                <a:lnTo>
                  <a:pt x="2445" y="1009"/>
                </a:lnTo>
                <a:lnTo>
                  <a:pt x="2443" y="987"/>
                </a:lnTo>
                <a:lnTo>
                  <a:pt x="2443" y="963"/>
                </a:lnTo>
                <a:lnTo>
                  <a:pt x="2443" y="963"/>
                </a:lnTo>
                <a:lnTo>
                  <a:pt x="2443" y="938"/>
                </a:lnTo>
                <a:lnTo>
                  <a:pt x="2445" y="916"/>
                </a:lnTo>
                <a:lnTo>
                  <a:pt x="2450" y="894"/>
                </a:lnTo>
                <a:lnTo>
                  <a:pt x="2455" y="873"/>
                </a:lnTo>
                <a:lnTo>
                  <a:pt x="2462" y="854"/>
                </a:lnTo>
                <a:lnTo>
                  <a:pt x="2471" y="835"/>
                </a:lnTo>
                <a:lnTo>
                  <a:pt x="2479" y="820"/>
                </a:lnTo>
                <a:lnTo>
                  <a:pt x="2491" y="804"/>
                </a:lnTo>
                <a:lnTo>
                  <a:pt x="2503" y="791"/>
                </a:lnTo>
                <a:lnTo>
                  <a:pt x="2517" y="777"/>
                </a:lnTo>
                <a:lnTo>
                  <a:pt x="2533" y="767"/>
                </a:lnTo>
                <a:lnTo>
                  <a:pt x="2550" y="758"/>
                </a:lnTo>
                <a:lnTo>
                  <a:pt x="2567" y="751"/>
                </a:lnTo>
                <a:lnTo>
                  <a:pt x="2587" y="746"/>
                </a:lnTo>
                <a:lnTo>
                  <a:pt x="2608" y="743"/>
                </a:lnTo>
                <a:lnTo>
                  <a:pt x="2629" y="743"/>
                </a:lnTo>
                <a:lnTo>
                  <a:pt x="2629" y="743"/>
                </a:lnTo>
                <a:lnTo>
                  <a:pt x="2649" y="743"/>
                </a:lnTo>
                <a:lnTo>
                  <a:pt x="2670" y="746"/>
                </a:lnTo>
                <a:lnTo>
                  <a:pt x="2687" y="751"/>
                </a:lnTo>
                <a:lnTo>
                  <a:pt x="2704" y="758"/>
                </a:lnTo>
                <a:lnTo>
                  <a:pt x="2720" y="767"/>
                </a:lnTo>
                <a:lnTo>
                  <a:pt x="2734" y="777"/>
                </a:lnTo>
                <a:lnTo>
                  <a:pt x="2747" y="791"/>
                </a:lnTo>
                <a:lnTo>
                  <a:pt x="2759" y="804"/>
                </a:lnTo>
                <a:lnTo>
                  <a:pt x="2770" y="820"/>
                </a:lnTo>
                <a:lnTo>
                  <a:pt x="2778" y="835"/>
                </a:lnTo>
                <a:lnTo>
                  <a:pt x="2785" y="854"/>
                </a:lnTo>
                <a:lnTo>
                  <a:pt x="2792" y="873"/>
                </a:lnTo>
                <a:lnTo>
                  <a:pt x="2797" y="894"/>
                </a:lnTo>
                <a:lnTo>
                  <a:pt x="2801" y="916"/>
                </a:lnTo>
                <a:lnTo>
                  <a:pt x="2802" y="938"/>
                </a:lnTo>
                <a:lnTo>
                  <a:pt x="2804" y="963"/>
                </a:lnTo>
                <a:lnTo>
                  <a:pt x="2804" y="963"/>
                </a:lnTo>
                <a:lnTo>
                  <a:pt x="2802" y="987"/>
                </a:lnTo>
                <a:lnTo>
                  <a:pt x="2801" y="1011"/>
                </a:lnTo>
                <a:lnTo>
                  <a:pt x="2797" y="1033"/>
                </a:lnTo>
                <a:lnTo>
                  <a:pt x="2792" y="1054"/>
                </a:lnTo>
                <a:lnTo>
                  <a:pt x="2785" y="1073"/>
                </a:lnTo>
                <a:lnTo>
                  <a:pt x="2778" y="1091"/>
                </a:lnTo>
                <a:lnTo>
                  <a:pt x="2770" y="1107"/>
                </a:lnTo>
                <a:lnTo>
                  <a:pt x="2759" y="1122"/>
                </a:lnTo>
                <a:lnTo>
                  <a:pt x="2747" y="1136"/>
                </a:lnTo>
                <a:lnTo>
                  <a:pt x="2734" y="1148"/>
                </a:lnTo>
                <a:lnTo>
                  <a:pt x="2720" y="1158"/>
                </a:lnTo>
                <a:lnTo>
                  <a:pt x="2704" y="1165"/>
                </a:lnTo>
                <a:lnTo>
                  <a:pt x="2687" y="1172"/>
                </a:lnTo>
                <a:lnTo>
                  <a:pt x="2670" y="1177"/>
                </a:lnTo>
                <a:lnTo>
                  <a:pt x="2649" y="1181"/>
                </a:lnTo>
                <a:lnTo>
                  <a:pt x="2629" y="1181"/>
                </a:lnTo>
                <a:lnTo>
                  <a:pt x="2629" y="1181"/>
                </a:lnTo>
                <a:close/>
                <a:moveTo>
                  <a:pt x="3648" y="627"/>
                </a:moveTo>
                <a:lnTo>
                  <a:pt x="3519" y="627"/>
                </a:lnTo>
                <a:lnTo>
                  <a:pt x="3519" y="627"/>
                </a:lnTo>
                <a:lnTo>
                  <a:pt x="3517" y="627"/>
                </a:lnTo>
                <a:lnTo>
                  <a:pt x="3515" y="629"/>
                </a:lnTo>
                <a:lnTo>
                  <a:pt x="3514" y="631"/>
                </a:lnTo>
                <a:lnTo>
                  <a:pt x="3514" y="633"/>
                </a:lnTo>
                <a:lnTo>
                  <a:pt x="3514" y="1004"/>
                </a:lnTo>
                <a:lnTo>
                  <a:pt x="3514" y="1004"/>
                </a:lnTo>
                <a:lnTo>
                  <a:pt x="3512" y="1021"/>
                </a:lnTo>
                <a:lnTo>
                  <a:pt x="3510" y="1038"/>
                </a:lnTo>
                <a:lnTo>
                  <a:pt x="3507" y="1054"/>
                </a:lnTo>
                <a:lnTo>
                  <a:pt x="3503" y="1069"/>
                </a:lnTo>
                <a:lnTo>
                  <a:pt x="3498" y="1085"/>
                </a:lnTo>
                <a:lnTo>
                  <a:pt x="3491" y="1100"/>
                </a:lnTo>
                <a:lnTo>
                  <a:pt x="3483" y="1114"/>
                </a:lnTo>
                <a:lnTo>
                  <a:pt x="3472" y="1126"/>
                </a:lnTo>
                <a:lnTo>
                  <a:pt x="3462" y="1138"/>
                </a:lnTo>
                <a:lnTo>
                  <a:pt x="3450" y="1150"/>
                </a:lnTo>
                <a:lnTo>
                  <a:pt x="3438" y="1158"/>
                </a:lnTo>
                <a:lnTo>
                  <a:pt x="3422" y="1167"/>
                </a:lnTo>
                <a:lnTo>
                  <a:pt x="3407" y="1172"/>
                </a:lnTo>
                <a:lnTo>
                  <a:pt x="3390" y="1177"/>
                </a:lnTo>
                <a:lnTo>
                  <a:pt x="3373" y="1181"/>
                </a:lnTo>
                <a:lnTo>
                  <a:pt x="3352" y="1181"/>
                </a:lnTo>
                <a:lnTo>
                  <a:pt x="3352" y="1181"/>
                </a:lnTo>
                <a:lnTo>
                  <a:pt x="3331" y="1181"/>
                </a:lnTo>
                <a:lnTo>
                  <a:pt x="3311" y="1177"/>
                </a:lnTo>
                <a:lnTo>
                  <a:pt x="3294" y="1172"/>
                </a:lnTo>
                <a:lnTo>
                  <a:pt x="3278" y="1165"/>
                </a:lnTo>
                <a:lnTo>
                  <a:pt x="3263" y="1157"/>
                </a:lnTo>
                <a:lnTo>
                  <a:pt x="3249" y="1146"/>
                </a:lnTo>
                <a:lnTo>
                  <a:pt x="3237" y="1136"/>
                </a:lnTo>
                <a:lnTo>
                  <a:pt x="3227" y="1122"/>
                </a:lnTo>
                <a:lnTo>
                  <a:pt x="3218" y="1109"/>
                </a:lnTo>
                <a:lnTo>
                  <a:pt x="3211" y="1095"/>
                </a:lnTo>
                <a:lnTo>
                  <a:pt x="3204" y="1079"/>
                </a:lnTo>
                <a:lnTo>
                  <a:pt x="3199" y="1064"/>
                </a:lnTo>
                <a:lnTo>
                  <a:pt x="3196" y="1047"/>
                </a:lnTo>
                <a:lnTo>
                  <a:pt x="3192" y="1031"/>
                </a:lnTo>
                <a:lnTo>
                  <a:pt x="3191" y="1014"/>
                </a:lnTo>
                <a:lnTo>
                  <a:pt x="3191" y="997"/>
                </a:lnTo>
                <a:lnTo>
                  <a:pt x="3191" y="633"/>
                </a:lnTo>
                <a:lnTo>
                  <a:pt x="3191" y="633"/>
                </a:lnTo>
                <a:lnTo>
                  <a:pt x="3191" y="631"/>
                </a:lnTo>
                <a:lnTo>
                  <a:pt x="3189" y="629"/>
                </a:lnTo>
                <a:lnTo>
                  <a:pt x="3187" y="627"/>
                </a:lnTo>
                <a:lnTo>
                  <a:pt x="3184" y="627"/>
                </a:lnTo>
                <a:lnTo>
                  <a:pt x="3055" y="627"/>
                </a:lnTo>
                <a:lnTo>
                  <a:pt x="3055" y="627"/>
                </a:lnTo>
                <a:lnTo>
                  <a:pt x="3051" y="627"/>
                </a:lnTo>
                <a:lnTo>
                  <a:pt x="3050" y="629"/>
                </a:lnTo>
                <a:lnTo>
                  <a:pt x="3048" y="631"/>
                </a:lnTo>
                <a:lnTo>
                  <a:pt x="3048" y="633"/>
                </a:lnTo>
                <a:lnTo>
                  <a:pt x="3048" y="997"/>
                </a:lnTo>
                <a:lnTo>
                  <a:pt x="3048" y="997"/>
                </a:lnTo>
                <a:lnTo>
                  <a:pt x="3048" y="1028"/>
                </a:lnTo>
                <a:lnTo>
                  <a:pt x="3051" y="1059"/>
                </a:lnTo>
                <a:lnTo>
                  <a:pt x="3057" y="1088"/>
                </a:lnTo>
                <a:lnTo>
                  <a:pt x="3063" y="1117"/>
                </a:lnTo>
                <a:lnTo>
                  <a:pt x="3074" y="1145"/>
                </a:lnTo>
                <a:lnTo>
                  <a:pt x="3084" y="1171"/>
                </a:lnTo>
                <a:lnTo>
                  <a:pt x="3099" y="1195"/>
                </a:lnTo>
                <a:lnTo>
                  <a:pt x="3115" y="1217"/>
                </a:lnTo>
                <a:lnTo>
                  <a:pt x="3134" y="1238"/>
                </a:lnTo>
                <a:lnTo>
                  <a:pt x="3154" y="1256"/>
                </a:lnTo>
                <a:lnTo>
                  <a:pt x="3177" y="1272"/>
                </a:lnTo>
                <a:lnTo>
                  <a:pt x="3204" y="1286"/>
                </a:lnTo>
                <a:lnTo>
                  <a:pt x="3232" y="1296"/>
                </a:lnTo>
                <a:lnTo>
                  <a:pt x="3263" y="1305"/>
                </a:lnTo>
                <a:lnTo>
                  <a:pt x="3297" y="1310"/>
                </a:lnTo>
                <a:lnTo>
                  <a:pt x="3333" y="1311"/>
                </a:lnTo>
                <a:lnTo>
                  <a:pt x="3333" y="1311"/>
                </a:lnTo>
                <a:lnTo>
                  <a:pt x="3359" y="1310"/>
                </a:lnTo>
                <a:lnTo>
                  <a:pt x="3385" y="1305"/>
                </a:lnTo>
                <a:lnTo>
                  <a:pt x="3409" y="1298"/>
                </a:lnTo>
                <a:lnTo>
                  <a:pt x="3433" y="1289"/>
                </a:lnTo>
                <a:lnTo>
                  <a:pt x="3453" y="1279"/>
                </a:lnTo>
                <a:lnTo>
                  <a:pt x="3471" y="1265"/>
                </a:lnTo>
                <a:lnTo>
                  <a:pt x="3486" y="1253"/>
                </a:lnTo>
                <a:lnTo>
                  <a:pt x="3498" y="1239"/>
                </a:lnTo>
                <a:lnTo>
                  <a:pt x="3498" y="1239"/>
                </a:lnTo>
                <a:lnTo>
                  <a:pt x="3502" y="1238"/>
                </a:lnTo>
                <a:lnTo>
                  <a:pt x="3507" y="1236"/>
                </a:lnTo>
                <a:lnTo>
                  <a:pt x="3510" y="1238"/>
                </a:lnTo>
                <a:lnTo>
                  <a:pt x="3514" y="1241"/>
                </a:lnTo>
                <a:lnTo>
                  <a:pt x="3526" y="1291"/>
                </a:lnTo>
                <a:lnTo>
                  <a:pt x="3526" y="1291"/>
                </a:lnTo>
                <a:lnTo>
                  <a:pt x="3529" y="1296"/>
                </a:lnTo>
                <a:lnTo>
                  <a:pt x="3532" y="1298"/>
                </a:lnTo>
                <a:lnTo>
                  <a:pt x="3536" y="1298"/>
                </a:lnTo>
                <a:lnTo>
                  <a:pt x="3648" y="1298"/>
                </a:lnTo>
                <a:lnTo>
                  <a:pt x="3648" y="1298"/>
                </a:lnTo>
                <a:lnTo>
                  <a:pt x="3651" y="1298"/>
                </a:lnTo>
                <a:lnTo>
                  <a:pt x="3653" y="1296"/>
                </a:lnTo>
                <a:lnTo>
                  <a:pt x="3654" y="1294"/>
                </a:lnTo>
                <a:lnTo>
                  <a:pt x="3654" y="1291"/>
                </a:lnTo>
                <a:lnTo>
                  <a:pt x="3654" y="633"/>
                </a:lnTo>
                <a:lnTo>
                  <a:pt x="3654" y="633"/>
                </a:lnTo>
                <a:lnTo>
                  <a:pt x="3654" y="631"/>
                </a:lnTo>
                <a:lnTo>
                  <a:pt x="3653" y="629"/>
                </a:lnTo>
                <a:lnTo>
                  <a:pt x="3651" y="627"/>
                </a:lnTo>
                <a:lnTo>
                  <a:pt x="3648" y="627"/>
                </a:lnTo>
                <a:lnTo>
                  <a:pt x="3648" y="627"/>
                </a:lnTo>
                <a:close/>
                <a:moveTo>
                  <a:pt x="4441" y="1176"/>
                </a:moveTo>
                <a:lnTo>
                  <a:pt x="4412" y="1176"/>
                </a:lnTo>
                <a:lnTo>
                  <a:pt x="4412" y="1176"/>
                </a:lnTo>
                <a:lnTo>
                  <a:pt x="4402" y="1176"/>
                </a:lnTo>
                <a:lnTo>
                  <a:pt x="4393" y="1172"/>
                </a:lnTo>
                <a:lnTo>
                  <a:pt x="4385" y="1169"/>
                </a:lnTo>
                <a:lnTo>
                  <a:pt x="4378" y="1164"/>
                </a:lnTo>
                <a:lnTo>
                  <a:pt x="4373" y="1157"/>
                </a:lnTo>
                <a:lnTo>
                  <a:pt x="4369" y="1148"/>
                </a:lnTo>
                <a:lnTo>
                  <a:pt x="4367" y="1141"/>
                </a:lnTo>
                <a:lnTo>
                  <a:pt x="4366" y="1133"/>
                </a:lnTo>
                <a:lnTo>
                  <a:pt x="4366" y="859"/>
                </a:lnTo>
                <a:lnTo>
                  <a:pt x="4366" y="859"/>
                </a:lnTo>
                <a:lnTo>
                  <a:pt x="4364" y="830"/>
                </a:lnTo>
                <a:lnTo>
                  <a:pt x="4361" y="803"/>
                </a:lnTo>
                <a:lnTo>
                  <a:pt x="4354" y="777"/>
                </a:lnTo>
                <a:lnTo>
                  <a:pt x="4345" y="753"/>
                </a:lnTo>
                <a:lnTo>
                  <a:pt x="4333" y="731"/>
                </a:lnTo>
                <a:lnTo>
                  <a:pt x="4319" y="710"/>
                </a:lnTo>
                <a:lnTo>
                  <a:pt x="4304" y="691"/>
                </a:lnTo>
                <a:lnTo>
                  <a:pt x="4287" y="676"/>
                </a:lnTo>
                <a:lnTo>
                  <a:pt x="4266" y="660"/>
                </a:lnTo>
                <a:lnTo>
                  <a:pt x="4244" y="648"/>
                </a:lnTo>
                <a:lnTo>
                  <a:pt x="4218" y="638"/>
                </a:lnTo>
                <a:lnTo>
                  <a:pt x="4192" y="629"/>
                </a:lnTo>
                <a:lnTo>
                  <a:pt x="4165" y="622"/>
                </a:lnTo>
                <a:lnTo>
                  <a:pt x="4134" y="617"/>
                </a:lnTo>
                <a:lnTo>
                  <a:pt x="4103" y="614"/>
                </a:lnTo>
                <a:lnTo>
                  <a:pt x="4069" y="614"/>
                </a:lnTo>
                <a:lnTo>
                  <a:pt x="4069" y="614"/>
                </a:lnTo>
                <a:lnTo>
                  <a:pt x="4039" y="614"/>
                </a:lnTo>
                <a:lnTo>
                  <a:pt x="4012" y="617"/>
                </a:lnTo>
                <a:lnTo>
                  <a:pt x="3984" y="622"/>
                </a:lnTo>
                <a:lnTo>
                  <a:pt x="3959" y="627"/>
                </a:lnTo>
                <a:lnTo>
                  <a:pt x="3933" y="636"/>
                </a:lnTo>
                <a:lnTo>
                  <a:pt x="3909" y="646"/>
                </a:lnTo>
                <a:lnTo>
                  <a:pt x="3886" y="658"/>
                </a:lnTo>
                <a:lnTo>
                  <a:pt x="3866" y="672"/>
                </a:lnTo>
                <a:lnTo>
                  <a:pt x="3845" y="688"/>
                </a:lnTo>
                <a:lnTo>
                  <a:pt x="3828" y="705"/>
                </a:lnTo>
                <a:lnTo>
                  <a:pt x="3814" y="724"/>
                </a:lnTo>
                <a:lnTo>
                  <a:pt x="3800" y="744"/>
                </a:lnTo>
                <a:lnTo>
                  <a:pt x="3790" y="767"/>
                </a:lnTo>
                <a:lnTo>
                  <a:pt x="3783" y="792"/>
                </a:lnTo>
                <a:lnTo>
                  <a:pt x="3778" y="818"/>
                </a:lnTo>
                <a:lnTo>
                  <a:pt x="3776" y="847"/>
                </a:lnTo>
                <a:lnTo>
                  <a:pt x="3776" y="847"/>
                </a:lnTo>
                <a:lnTo>
                  <a:pt x="3778" y="849"/>
                </a:lnTo>
                <a:lnTo>
                  <a:pt x="3778" y="851"/>
                </a:lnTo>
                <a:lnTo>
                  <a:pt x="3782" y="853"/>
                </a:lnTo>
                <a:lnTo>
                  <a:pt x="3783" y="854"/>
                </a:lnTo>
                <a:lnTo>
                  <a:pt x="3912" y="854"/>
                </a:lnTo>
                <a:lnTo>
                  <a:pt x="3912" y="854"/>
                </a:lnTo>
                <a:lnTo>
                  <a:pt x="3916" y="853"/>
                </a:lnTo>
                <a:lnTo>
                  <a:pt x="3917" y="851"/>
                </a:lnTo>
                <a:lnTo>
                  <a:pt x="3919" y="849"/>
                </a:lnTo>
                <a:lnTo>
                  <a:pt x="3919" y="847"/>
                </a:lnTo>
                <a:lnTo>
                  <a:pt x="3919" y="847"/>
                </a:lnTo>
                <a:lnTo>
                  <a:pt x="3921" y="827"/>
                </a:lnTo>
                <a:lnTo>
                  <a:pt x="3924" y="816"/>
                </a:lnTo>
                <a:lnTo>
                  <a:pt x="3928" y="808"/>
                </a:lnTo>
                <a:lnTo>
                  <a:pt x="3933" y="798"/>
                </a:lnTo>
                <a:lnTo>
                  <a:pt x="3938" y="789"/>
                </a:lnTo>
                <a:lnTo>
                  <a:pt x="3945" y="782"/>
                </a:lnTo>
                <a:lnTo>
                  <a:pt x="3953" y="773"/>
                </a:lnTo>
                <a:lnTo>
                  <a:pt x="3964" y="767"/>
                </a:lnTo>
                <a:lnTo>
                  <a:pt x="3974" y="761"/>
                </a:lnTo>
                <a:lnTo>
                  <a:pt x="3986" y="756"/>
                </a:lnTo>
                <a:lnTo>
                  <a:pt x="4000" y="751"/>
                </a:lnTo>
                <a:lnTo>
                  <a:pt x="4015" y="748"/>
                </a:lnTo>
                <a:lnTo>
                  <a:pt x="4031" y="746"/>
                </a:lnTo>
                <a:lnTo>
                  <a:pt x="4050" y="744"/>
                </a:lnTo>
                <a:lnTo>
                  <a:pt x="4069" y="743"/>
                </a:lnTo>
                <a:lnTo>
                  <a:pt x="4069" y="743"/>
                </a:lnTo>
                <a:lnTo>
                  <a:pt x="4094" y="744"/>
                </a:lnTo>
                <a:lnTo>
                  <a:pt x="4117" y="746"/>
                </a:lnTo>
                <a:lnTo>
                  <a:pt x="4136" y="749"/>
                </a:lnTo>
                <a:lnTo>
                  <a:pt x="4153" y="755"/>
                </a:lnTo>
                <a:lnTo>
                  <a:pt x="4168" y="760"/>
                </a:lnTo>
                <a:lnTo>
                  <a:pt x="4180" y="767"/>
                </a:lnTo>
                <a:lnTo>
                  <a:pt x="4190" y="775"/>
                </a:lnTo>
                <a:lnTo>
                  <a:pt x="4201" y="784"/>
                </a:lnTo>
                <a:lnTo>
                  <a:pt x="4208" y="792"/>
                </a:lnTo>
                <a:lnTo>
                  <a:pt x="4213" y="801"/>
                </a:lnTo>
                <a:lnTo>
                  <a:pt x="4216" y="810"/>
                </a:lnTo>
                <a:lnTo>
                  <a:pt x="4220" y="818"/>
                </a:lnTo>
                <a:lnTo>
                  <a:pt x="4223" y="837"/>
                </a:lnTo>
                <a:lnTo>
                  <a:pt x="4223" y="854"/>
                </a:lnTo>
                <a:lnTo>
                  <a:pt x="4223" y="854"/>
                </a:lnTo>
                <a:lnTo>
                  <a:pt x="4223" y="859"/>
                </a:lnTo>
                <a:lnTo>
                  <a:pt x="4221" y="866"/>
                </a:lnTo>
                <a:lnTo>
                  <a:pt x="4218" y="871"/>
                </a:lnTo>
                <a:lnTo>
                  <a:pt x="4213" y="878"/>
                </a:lnTo>
                <a:lnTo>
                  <a:pt x="4208" y="883"/>
                </a:lnTo>
                <a:lnTo>
                  <a:pt x="4199" y="887"/>
                </a:lnTo>
                <a:lnTo>
                  <a:pt x="4190" y="890"/>
                </a:lnTo>
                <a:lnTo>
                  <a:pt x="4182" y="890"/>
                </a:lnTo>
                <a:lnTo>
                  <a:pt x="4044" y="890"/>
                </a:lnTo>
                <a:lnTo>
                  <a:pt x="4044" y="890"/>
                </a:lnTo>
                <a:lnTo>
                  <a:pt x="4010" y="892"/>
                </a:lnTo>
                <a:lnTo>
                  <a:pt x="3977" y="896"/>
                </a:lnTo>
                <a:lnTo>
                  <a:pt x="3947" y="901"/>
                </a:lnTo>
                <a:lnTo>
                  <a:pt x="3917" y="908"/>
                </a:lnTo>
                <a:lnTo>
                  <a:pt x="3892" y="916"/>
                </a:lnTo>
                <a:lnTo>
                  <a:pt x="3867" y="926"/>
                </a:lnTo>
                <a:lnTo>
                  <a:pt x="3847" y="938"/>
                </a:lnTo>
                <a:lnTo>
                  <a:pt x="3826" y="952"/>
                </a:lnTo>
                <a:lnTo>
                  <a:pt x="3809" y="966"/>
                </a:lnTo>
                <a:lnTo>
                  <a:pt x="3795" y="981"/>
                </a:lnTo>
                <a:lnTo>
                  <a:pt x="3783" y="999"/>
                </a:lnTo>
                <a:lnTo>
                  <a:pt x="3773" y="1018"/>
                </a:lnTo>
                <a:lnTo>
                  <a:pt x="3764" y="1036"/>
                </a:lnTo>
                <a:lnTo>
                  <a:pt x="3759" y="1057"/>
                </a:lnTo>
                <a:lnTo>
                  <a:pt x="3756" y="1078"/>
                </a:lnTo>
                <a:lnTo>
                  <a:pt x="3754" y="1098"/>
                </a:lnTo>
                <a:lnTo>
                  <a:pt x="3754" y="1098"/>
                </a:lnTo>
                <a:lnTo>
                  <a:pt x="3756" y="1122"/>
                </a:lnTo>
                <a:lnTo>
                  <a:pt x="3758" y="1143"/>
                </a:lnTo>
                <a:lnTo>
                  <a:pt x="3763" y="1164"/>
                </a:lnTo>
                <a:lnTo>
                  <a:pt x="3770" y="1184"/>
                </a:lnTo>
                <a:lnTo>
                  <a:pt x="3780" y="1203"/>
                </a:lnTo>
                <a:lnTo>
                  <a:pt x="3790" y="1220"/>
                </a:lnTo>
                <a:lnTo>
                  <a:pt x="3804" y="1236"/>
                </a:lnTo>
                <a:lnTo>
                  <a:pt x="3819" y="1251"/>
                </a:lnTo>
                <a:lnTo>
                  <a:pt x="3837" y="1265"/>
                </a:lnTo>
                <a:lnTo>
                  <a:pt x="3855" y="1277"/>
                </a:lnTo>
                <a:lnTo>
                  <a:pt x="3878" y="1287"/>
                </a:lnTo>
                <a:lnTo>
                  <a:pt x="3902" y="1296"/>
                </a:lnTo>
                <a:lnTo>
                  <a:pt x="3928" y="1303"/>
                </a:lnTo>
                <a:lnTo>
                  <a:pt x="3955" y="1308"/>
                </a:lnTo>
                <a:lnTo>
                  <a:pt x="3986" y="1310"/>
                </a:lnTo>
                <a:lnTo>
                  <a:pt x="4019" y="1311"/>
                </a:lnTo>
                <a:lnTo>
                  <a:pt x="4019" y="1311"/>
                </a:lnTo>
                <a:lnTo>
                  <a:pt x="4058" y="1310"/>
                </a:lnTo>
                <a:lnTo>
                  <a:pt x="4096" y="1305"/>
                </a:lnTo>
                <a:lnTo>
                  <a:pt x="4130" y="1296"/>
                </a:lnTo>
                <a:lnTo>
                  <a:pt x="4160" y="1286"/>
                </a:lnTo>
                <a:lnTo>
                  <a:pt x="4185" y="1274"/>
                </a:lnTo>
                <a:lnTo>
                  <a:pt x="4208" y="1262"/>
                </a:lnTo>
                <a:lnTo>
                  <a:pt x="4227" y="1248"/>
                </a:lnTo>
                <a:lnTo>
                  <a:pt x="4240" y="1234"/>
                </a:lnTo>
                <a:lnTo>
                  <a:pt x="4240" y="1234"/>
                </a:lnTo>
                <a:lnTo>
                  <a:pt x="4244" y="1232"/>
                </a:lnTo>
                <a:lnTo>
                  <a:pt x="4247" y="1232"/>
                </a:lnTo>
                <a:lnTo>
                  <a:pt x="4251" y="1232"/>
                </a:lnTo>
                <a:lnTo>
                  <a:pt x="4252" y="1236"/>
                </a:lnTo>
                <a:lnTo>
                  <a:pt x="4252" y="1236"/>
                </a:lnTo>
                <a:lnTo>
                  <a:pt x="4263" y="1250"/>
                </a:lnTo>
                <a:lnTo>
                  <a:pt x="4273" y="1262"/>
                </a:lnTo>
                <a:lnTo>
                  <a:pt x="4287" y="1274"/>
                </a:lnTo>
                <a:lnTo>
                  <a:pt x="4302" y="1282"/>
                </a:lnTo>
                <a:lnTo>
                  <a:pt x="4319" y="1289"/>
                </a:lnTo>
                <a:lnTo>
                  <a:pt x="4340" y="1294"/>
                </a:lnTo>
                <a:lnTo>
                  <a:pt x="4362" y="1298"/>
                </a:lnTo>
                <a:lnTo>
                  <a:pt x="4388" y="1298"/>
                </a:lnTo>
                <a:lnTo>
                  <a:pt x="4441" y="1298"/>
                </a:lnTo>
                <a:lnTo>
                  <a:pt x="4441" y="1298"/>
                </a:lnTo>
                <a:lnTo>
                  <a:pt x="4445" y="1298"/>
                </a:lnTo>
                <a:lnTo>
                  <a:pt x="4446" y="1296"/>
                </a:lnTo>
                <a:lnTo>
                  <a:pt x="4448" y="1294"/>
                </a:lnTo>
                <a:lnTo>
                  <a:pt x="4448" y="1291"/>
                </a:lnTo>
                <a:lnTo>
                  <a:pt x="4448" y="1183"/>
                </a:lnTo>
                <a:lnTo>
                  <a:pt x="4448" y="1183"/>
                </a:lnTo>
                <a:lnTo>
                  <a:pt x="4448" y="1179"/>
                </a:lnTo>
                <a:lnTo>
                  <a:pt x="4446" y="1177"/>
                </a:lnTo>
                <a:lnTo>
                  <a:pt x="4445" y="1176"/>
                </a:lnTo>
                <a:lnTo>
                  <a:pt x="4441" y="1176"/>
                </a:lnTo>
                <a:lnTo>
                  <a:pt x="4441" y="1176"/>
                </a:lnTo>
                <a:close/>
                <a:moveTo>
                  <a:pt x="4223" y="1023"/>
                </a:moveTo>
                <a:lnTo>
                  <a:pt x="4223" y="1023"/>
                </a:lnTo>
                <a:lnTo>
                  <a:pt x="4223" y="1036"/>
                </a:lnTo>
                <a:lnTo>
                  <a:pt x="4221" y="1050"/>
                </a:lnTo>
                <a:lnTo>
                  <a:pt x="4218" y="1064"/>
                </a:lnTo>
                <a:lnTo>
                  <a:pt x="4213" y="1078"/>
                </a:lnTo>
                <a:lnTo>
                  <a:pt x="4206" y="1091"/>
                </a:lnTo>
                <a:lnTo>
                  <a:pt x="4197" y="1105"/>
                </a:lnTo>
                <a:lnTo>
                  <a:pt x="4187" y="1119"/>
                </a:lnTo>
                <a:lnTo>
                  <a:pt x="4177" y="1129"/>
                </a:lnTo>
                <a:lnTo>
                  <a:pt x="4163" y="1141"/>
                </a:lnTo>
                <a:lnTo>
                  <a:pt x="4148" y="1152"/>
                </a:lnTo>
                <a:lnTo>
                  <a:pt x="4132" y="1160"/>
                </a:lnTo>
                <a:lnTo>
                  <a:pt x="4113" y="1167"/>
                </a:lnTo>
                <a:lnTo>
                  <a:pt x="4093" y="1174"/>
                </a:lnTo>
                <a:lnTo>
                  <a:pt x="4070" y="1179"/>
                </a:lnTo>
                <a:lnTo>
                  <a:pt x="4044" y="1181"/>
                </a:lnTo>
                <a:lnTo>
                  <a:pt x="4019" y="1183"/>
                </a:lnTo>
                <a:lnTo>
                  <a:pt x="4019" y="1183"/>
                </a:lnTo>
                <a:lnTo>
                  <a:pt x="4002" y="1183"/>
                </a:lnTo>
                <a:lnTo>
                  <a:pt x="3986" y="1181"/>
                </a:lnTo>
                <a:lnTo>
                  <a:pt x="3972" y="1177"/>
                </a:lnTo>
                <a:lnTo>
                  <a:pt x="3960" y="1174"/>
                </a:lnTo>
                <a:lnTo>
                  <a:pt x="3948" y="1171"/>
                </a:lnTo>
                <a:lnTo>
                  <a:pt x="3940" y="1165"/>
                </a:lnTo>
                <a:lnTo>
                  <a:pt x="3929" y="1160"/>
                </a:lnTo>
                <a:lnTo>
                  <a:pt x="3922" y="1155"/>
                </a:lnTo>
                <a:lnTo>
                  <a:pt x="3916" y="1148"/>
                </a:lnTo>
                <a:lnTo>
                  <a:pt x="3910" y="1141"/>
                </a:lnTo>
                <a:lnTo>
                  <a:pt x="3902" y="1128"/>
                </a:lnTo>
                <a:lnTo>
                  <a:pt x="3898" y="1114"/>
                </a:lnTo>
                <a:lnTo>
                  <a:pt x="3897" y="1098"/>
                </a:lnTo>
                <a:lnTo>
                  <a:pt x="3897" y="1098"/>
                </a:lnTo>
                <a:lnTo>
                  <a:pt x="3897" y="1083"/>
                </a:lnTo>
                <a:lnTo>
                  <a:pt x="3902" y="1067"/>
                </a:lnTo>
                <a:lnTo>
                  <a:pt x="3905" y="1059"/>
                </a:lnTo>
                <a:lnTo>
                  <a:pt x="3910" y="1052"/>
                </a:lnTo>
                <a:lnTo>
                  <a:pt x="3916" y="1043"/>
                </a:lnTo>
                <a:lnTo>
                  <a:pt x="3924" y="1036"/>
                </a:lnTo>
                <a:lnTo>
                  <a:pt x="3933" y="1031"/>
                </a:lnTo>
                <a:lnTo>
                  <a:pt x="3943" y="1024"/>
                </a:lnTo>
                <a:lnTo>
                  <a:pt x="3955" y="1019"/>
                </a:lnTo>
                <a:lnTo>
                  <a:pt x="3971" y="1014"/>
                </a:lnTo>
                <a:lnTo>
                  <a:pt x="3986" y="1011"/>
                </a:lnTo>
                <a:lnTo>
                  <a:pt x="4005" y="1009"/>
                </a:lnTo>
                <a:lnTo>
                  <a:pt x="4026" y="1007"/>
                </a:lnTo>
                <a:lnTo>
                  <a:pt x="4050" y="1006"/>
                </a:lnTo>
                <a:lnTo>
                  <a:pt x="4218" y="1006"/>
                </a:lnTo>
                <a:lnTo>
                  <a:pt x="4218" y="1006"/>
                </a:lnTo>
                <a:lnTo>
                  <a:pt x="4220" y="1007"/>
                </a:lnTo>
                <a:lnTo>
                  <a:pt x="4221" y="1007"/>
                </a:lnTo>
                <a:lnTo>
                  <a:pt x="4223" y="1011"/>
                </a:lnTo>
                <a:lnTo>
                  <a:pt x="4223" y="1012"/>
                </a:lnTo>
                <a:lnTo>
                  <a:pt x="4223" y="1023"/>
                </a:lnTo>
                <a:close/>
                <a:moveTo>
                  <a:pt x="4869" y="614"/>
                </a:moveTo>
                <a:lnTo>
                  <a:pt x="4869" y="614"/>
                </a:lnTo>
                <a:lnTo>
                  <a:pt x="4842" y="615"/>
                </a:lnTo>
                <a:lnTo>
                  <a:pt x="4816" y="619"/>
                </a:lnTo>
                <a:lnTo>
                  <a:pt x="4792" y="626"/>
                </a:lnTo>
                <a:lnTo>
                  <a:pt x="4770" y="636"/>
                </a:lnTo>
                <a:lnTo>
                  <a:pt x="4747" y="646"/>
                </a:lnTo>
                <a:lnTo>
                  <a:pt x="4730" y="658"/>
                </a:lnTo>
                <a:lnTo>
                  <a:pt x="4715" y="672"/>
                </a:lnTo>
                <a:lnTo>
                  <a:pt x="4702" y="684"/>
                </a:lnTo>
                <a:lnTo>
                  <a:pt x="4702" y="684"/>
                </a:lnTo>
                <a:lnTo>
                  <a:pt x="4699" y="688"/>
                </a:lnTo>
                <a:lnTo>
                  <a:pt x="4696" y="689"/>
                </a:lnTo>
                <a:lnTo>
                  <a:pt x="4690" y="688"/>
                </a:lnTo>
                <a:lnTo>
                  <a:pt x="4689" y="684"/>
                </a:lnTo>
                <a:lnTo>
                  <a:pt x="4675" y="633"/>
                </a:lnTo>
                <a:lnTo>
                  <a:pt x="4675" y="633"/>
                </a:lnTo>
                <a:lnTo>
                  <a:pt x="4672" y="629"/>
                </a:lnTo>
                <a:lnTo>
                  <a:pt x="4670" y="627"/>
                </a:lnTo>
                <a:lnTo>
                  <a:pt x="4666" y="627"/>
                </a:lnTo>
                <a:lnTo>
                  <a:pt x="4553" y="627"/>
                </a:lnTo>
                <a:lnTo>
                  <a:pt x="4553" y="627"/>
                </a:lnTo>
                <a:lnTo>
                  <a:pt x="4550" y="627"/>
                </a:lnTo>
                <a:lnTo>
                  <a:pt x="4548" y="629"/>
                </a:lnTo>
                <a:lnTo>
                  <a:pt x="4546" y="631"/>
                </a:lnTo>
                <a:lnTo>
                  <a:pt x="4546" y="633"/>
                </a:lnTo>
                <a:lnTo>
                  <a:pt x="4546" y="1291"/>
                </a:lnTo>
                <a:lnTo>
                  <a:pt x="4546" y="1291"/>
                </a:lnTo>
                <a:lnTo>
                  <a:pt x="4546" y="1294"/>
                </a:lnTo>
                <a:lnTo>
                  <a:pt x="4548" y="1296"/>
                </a:lnTo>
                <a:lnTo>
                  <a:pt x="4550" y="1298"/>
                </a:lnTo>
                <a:lnTo>
                  <a:pt x="4553" y="1298"/>
                </a:lnTo>
                <a:lnTo>
                  <a:pt x="4682" y="1298"/>
                </a:lnTo>
                <a:lnTo>
                  <a:pt x="4682" y="1298"/>
                </a:lnTo>
                <a:lnTo>
                  <a:pt x="4684" y="1298"/>
                </a:lnTo>
                <a:lnTo>
                  <a:pt x="4687" y="1296"/>
                </a:lnTo>
                <a:lnTo>
                  <a:pt x="4687" y="1294"/>
                </a:lnTo>
                <a:lnTo>
                  <a:pt x="4689" y="1291"/>
                </a:lnTo>
                <a:lnTo>
                  <a:pt x="4689" y="921"/>
                </a:lnTo>
                <a:lnTo>
                  <a:pt x="4689" y="921"/>
                </a:lnTo>
                <a:lnTo>
                  <a:pt x="4689" y="904"/>
                </a:lnTo>
                <a:lnTo>
                  <a:pt x="4690" y="887"/>
                </a:lnTo>
                <a:lnTo>
                  <a:pt x="4694" y="871"/>
                </a:lnTo>
                <a:lnTo>
                  <a:pt x="4697" y="854"/>
                </a:lnTo>
                <a:lnTo>
                  <a:pt x="4704" y="839"/>
                </a:lnTo>
                <a:lnTo>
                  <a:pt x="4711" y="825"/>
                </a:lnTo>
                <a:lnTo>
                  <a:pt x="4718" y="811"/>
                </a:lnTo>
                <a:lnTo>
                  <a:pt x="4728" y="798"/>
                </a:lnTo>
                <a:lnTo>
                  <a:pt x="4739" y="786"/>
                </a:lnTo>
                <a:lnTo>
                  <a:pt x="4751" y="775"/>
                </a:lnTo>
                <a:lnTo>
                  <a:pt x="4764" y="767"/>
                </a:lnTo>
                <a:lnTo>
                  <a:pt x="4778" y="758"/>
                </a:lnTo>
                <a:lnTo>
                  <a:pt x="4794" y="751"/>
                </a:lnTo>
                <a:lnTo>
                  <a:pt x="4811" y="748"/>
                </a:lnTo>
                <a:lnTo>
                  <a:pt x="4830" y="744"/>
                </a:lnTo>
                <a:lnTo>
                  <a:pt x="4849" y="743"/>
                </a:lnTo>
                <a:lnTo>
                  <a:pt x="4849" y="743"/>
                </a:lnTo>
                <a:lnTo>
                  <a:pt x="4869" y="744"/>
                </a:lnTo>
                <a:lnTo>
                  <a:pt x="4890" y="748"/>
                </a:lnTo>
                <a:lnTo>
                  <a:pt x="4907" y="753"/>
                </a:lnTo>
                <a:lnTo>
                  <a:pt x="4924" y="760"/>
                </a:lnTo>
                <a:lnTo>
                  <a:pt x="4938" y="768"/>
                </a:lnTo>
                <a:lnTo>
                  <a:pt x="4952" y="779"/>
                </a:lnTo>
                <a:lnTo>
                  <a:pt x="4964" y="789"/>
                </a:lnTo>
                <a:lnTo>
                  <a:pt x="4974" y="801"/>
                </a:lnTo>
                <a:lnTo>
                  <a:pt x="4983" y="815"/>
                </a:lnTo>
                <a:lnTo>
                  <a:pt x="4991" y="830"/>
                </a:lnTo>
                <a:lnTo>
                  <a:pt x="4996" y="846"/>
                </a:lnTo>
                <a:lnTo>
                  <a:pt x="5001" y="861"/>
                </a:lnTo>
                <a:lnTo>
                  <a:pt x="5005" y="877"/>
                </a:lnTo>
                <a:lnTo>
                  <a:pt x="5008" y="894"/>
                </a:lnTo>
                <a:lnTo>
                  <a:pt x="5010" y="911"/>
                </a:lnTo>
                <a:lnTo>
                  <a:pt x="5010" y="928"/>
                </a:lnTo>
                <a:lnTo>
                  <a:pt x="5010" y="1291"/>
                </a:lnTo>
                <a:lnTo>
                  <a:pt x="5010" y="1291"/>
                </a:lnTo>
                <a:lnTo>
                  <a:pt x="5012" y="1294"/>
                </a:lnTo>
                <a:lnTo>
                  <a:pt x="5012" y="1296"/>
                </a:lnTo>
                <a:lnTo>
                  <a:pt x="5015" y="1298"/>
                </a:lnTo>
                <a:lnTo>
                  <a:pt x="5017" y="1298"/>
                </a:lnTo>
                <a:lnTo>
                  <a:pt x="5147" y="1298"/>
                </a:lnTo>
                <a:lnTo>
                  <a:pt x="5147" y="1298"/>
                </a:lnTo>
                <a:lnTo>
                  <a:pt x="5149" y="1298"/>
                </a:lnTo>
                <a:lnTo>
                  <a:pt x="5153" y="1296"/>
                </a:lnTo>
                <a:lnTo>
                  <a:pt x="5153" y="1294"/>
                </a:lnTo>
                <a:lnTo>
                  <a:pt x="5154" y="1291"/>
                </a:lnTo>
                <a:lnTo>
                  <a:pt x="5154" y="928"/>
                </a:lnTo>
                <a:lnTo>
                  <a:pt x="5154" y="928"/>
                </a:lnTo>
                <a:lnTo>
                  <a:pt x="5153" y="896"/>
                </a:lnTo>
                <a:lnTo>
                  <a:pt x="5149" y="866"/>
                </a:lnTo>
                <a:lnTo>
                  <a:pt x="5144" y="835"/>
                </a:lnTo>
                <a:lnTo>
                  <a:pt x="5137" y="806"/>
                </a:lnTo>
                <a:lnTo>
                  <a:pt x="5129" y="780"/>
                </a:lnTo>
                <a:lnTo>
                  <a:pt x="5117" y="753"/>
                </a:lnTo>
                <a:lnTo>
                  <a:pt x="5103" y="729"/>
                </a:lnTo>
                <a:lnTo>
                  <a:pt x="5086" y="706"/>
                </a:lnTo>
                <a:lnTo>
                  <a:pt x="5068" y="686"/>
                </a:lnTo>
                <a:lnTo>
                  <a:pt x="5046" y="669"/>
                </a:lnTo>
                <a:lnTo>
                  <a:pt x="5024" y="651"/>
                </a:lnTo>
                <a:lnTo>
                  <a:pt x="4998" y="638"/>
                </a:lnTo>
                <a:lnTo>
                  <a:pt x="4969" y="627"/>
                </a:lnTo>
                <a:lnTo>
                  <a:pt x="4938" y="620"/>
                </a:lnTo>
                <a:lnTo>
                  <a:pt x="4905" y="615"/>
                </a:lnTo>
                <a:lnTo>
                  <a:pt x="4869" y="614"/>
                </a:lnTo>
                <a:lnTo>
                  <a:pt x="4869" y="614"/>
                </a:lnTo>
                <a:close/>
                <a:moveTo>
                  <a:pt x="5615" y="627"/>
                </a:moveTo>
                <a:lnTo>
                  <a:pt x="5474" y="627"/>
                </a:lnTo>
                <a:lnTo>
                  <a:pt x="5474" y="627"/>
                </a:lnTo>
                <a:lnTo>
                  <a:pt x="5472" y="626"/>
                </a:lnTo>
                <a:lnTo>
                  <a:pt x="5470" y="624"/>
                </a:lnTo>
                <a:lnTo>
                  <a:pt x="5469" y="622"/>
                </a:lnTo>
                <a:lnTo>
                  <a:pt x="5469" y="620"/>
                </a:lnTo>
                <a:lnTo>
                  <a:pt x="5469" y="440"/>
                </a:lnTo>
                <a:lnTo>
                  <a:pt x="5469" y="440"/>
                </a:lnTo>
                <a:lnTo>
                  <a:pt x="5467" y="438"/>
                </a:lnTo>
                <a:lnTo>
                  <a:pt x="5467" y="437"/>
                </a:lnTo>
                <a:lnTo>
                  <a:pt x="5464" y="435"/>
                </a:lnTo>
                <a:lnTo>
                  <a:pt x="5462" y="435"/>
                </a:lnTo>
                <a:lnTo>
                  <a:pt x="5331" y="435"/>
                </a:lnTo>
                <a:lnTo>
                  <a:pt x="5331" y="435"/>
                </a:lnTo>
                <a:lnTo>
                  <a:pt x="5328" y="435"/>
                </a:lnTo>
                <a:lnTo>
                  <a:pt x="5326" y="437"/>
                </a:lnTo>
                <a:lnTo>
                  <a:pt x="5324" y="438"/>
                </a:lnTo>
                <a:lnTo>
                  <a:pt x="5324" y="440"/>
                </a:lnTo>
                <a:lnTo>
                  <a:pt x="5324" y="620"/>
                </a:lnTo>
                <a:lnTo>
                  <a:pt x="5324" y="620"/>
                </a:lnTo>
                <a:lnTo>
                  <a:pt x="5324" y="622"/>
                </a:lnTo>
                <a:lnTo>
                  <a:pt x="5323" y="624"/>
                </a:lnTo>
                <a:lnTo>
                  <a:pt x="5321" y="626"/>
                </a:lnTo>
                <a:lnTo>
                  <a:pt x="5318" y="627"/>
                </a:lnTo>
                <a:lnTo>
                  <a:pt x="5206" y="627"/>
                </a:lnTo>
                <a:lnTo>
                  <a:pt x="5206" y="627"/>
                </a:lnTo>
                <a:lnTo>
                  <a:pt x="5202" y="627"/>
                </a:lnTo>
                <a:lnTo>
                  <a:pt x="5201" y="629"/>
                </a:lnTo>
                <a:lnTo>
                  <a:pt x="5199" y="631"/>
                </a:lnTo>
                <a:lnTo>
                  <a:pt x="5199" y="633"/>
                </a:lnTo>
                <a:lnTo>
                  <a:pt x="5199" y="739"/>
                </a:lnTo>
                <a:lnTo>
                  <a:pt x="5199" y="739"/>
                </a:lnTo>
                <a:lnTo>
                  <a:pt x="5199" y="743"/>
                </a:lnTo>
                <a:lnTo>
                  <a:pt x="5201" y="744"/>
                </a:lnTo>
                <a:lnTo>
                  <a:pt x="5202" y="746"/>
                </a:lnTo>
                <a:lnTo>
                  <a:pt x="5206" y="746"/>
                </a:lnTo>
                <a:lnTo>
                  <a:pt x="5318" y="746"/>
                </a:lnTo>
                <a:lnTo>
                  <a:pt x="5318" y="746"/>
                </a:lnTo>
                <a:lnTo>
                  <a:pt x="5321" y="746"/>
                </a:lnTo>
                <a:lnTo>
                  <a:pt x="5323" y="748"/>
                </a:lnTo>
                <a:lnTo>
                  <a:pt x="5324" y="749"/>
                </a:lnTo>
                <a:lnTo>
                  <a:pt x="5324" y="753"/>
                </a:lnTo>
                <a:lnTo>
                  <a:pt x="5324" y="1110"/>
                </a:lnTo>
                <a:lnTo>
                  <a:pt x="5324" y="1110"/>
                </a:lnTo>
                <a:lnTo>
                  <a:pt x="5326" y="1134"/>
                </a:lnTo>
                <a:lnTo>
                  <a:pt x="5328" y="1157"/>
                </a:lnTo>
                <a:lnTo>
                  <a:pt x="5330" y="1177"/>
                </a:lnTo>
                <a:lnTo>
                  <a:pt x="5335" y="1196"/>
                </a:lnTo>
                <a:lnTo>
                  <a:pt x="5342" y="1213"/>
                </a:lnTo>
                <a:lnTo>
                  <a:pt x="5349" y="1229"/>
                </a:lnTo>
                <a:lnTo>
                  <a:pt x="5357" y="1243"/>
                </a:lnTo>
                <a:lnTo>
                  <a:pt x="5367" y="1255"/>
                </a:lnTo>
                <a:lnTo>
                  <a:pt x="5379" y="1265"/>
                </a:lnTo>
                <a:lnTo>
                  <a:pt x="5393" y="1274"/>
                </a:lnTo>
                <a:lnTo>
                  <a:pt x="5409" y="1281"/>
                </a:lnTo>
                <a:lnTo>
                  <a:pt x="5426" y="1287"/>
                </a:lnTo>
                <a:lnTo>
                  <a:pt x="5443" y="1293"/>
                </a:lnTo>
                <a:lnTo>
                  <a:pt x="5464" y="1296"/>
                </a:lnTo>
                <a:lnTo>
                  <a:pt x="5486" y="1298"/>
                </a:lnTo>
                <a:lnTo>
                  <a:pt x="5510" y="1298"/>
                </a:lnTo>
                <a:lnTo>
                  <a:pt x="5615" y="1298"/>
                </a:lnTo>
                <a:lnTo>
                  <a:pt x="5615" y="1298"/>
                </a:lnTo>
                <a:lnTo>
                  <a:pt x="5617" y="1298"/>
                </a:lnTo>
                <a:lnTo>
                  <a:pt x="5618" y="1296"/>
                </a:lnTo>
                <a:lnTo>
                  <a:pt x="5620" y="1294"/>
                </a:lnTo>
                <a:lnTo>
                  <a:pt x="5620" y="1291"/>
                </a:lnTo>
                <a:lnTo>
                  <a:pt x="5620" y="1176"/>
                </a:lnTo>
                <a:lnTo>
                  <a:pt x="5620" y="1176"/>
                </a:lnTo>
                <a:lnTo>
                  <a:pt x="5620" y="1174"/>
                </a:lnTo>
                <a:lnTo>
                  <a:pt x="5618" y="1171"/>
                </a:lnTo>
                <a:lnTo>
                  <a:pt x="5617" y="1171"/>
                </a:lnTo>
                <a:lnTo>
                  <a:pt x="5615" y="1169"/>
                </a:lnTo>
                <a:lnTo>
                  <a:pt x="5527" y="1169"/>
                </a:lnTo>
                <a:lnTo>
                  <a:pt x="5527" y="1169"/>
                </a:lnTo>
                <a:lnTo>
                  <a:pt x="5513" y="1169"/>
                </a:lnTo>
                <a:lnTo>
                  <a:pt x="5501" y="1165"/>
                </a:lnTo>
                <a:lnTo>
                  <a:pt x="5491" y="1160"/>
                </a:lnTo>
                <a:lnTo>
                  <a:pt x="5483" y="1155"/>
                </a:lnTo>
                <a:lnTo>
                  <a:pt x="5476" y="1146"/>
                </a:lnTo>
                <a:lnTo>
                  <a:pt x="5472" y="1138"/>
                </a:lnTo>
                <a:lnTo>
                  <a:pt x="5469" y="1128"/>
                </a:lnTo>
                <a:lnTo>
                  <a:pt x="5469" y="1116"/>
                </a:lnTo>
                <a:lnTo>
                  <a:pt x="5469" y="753"/>
                </a:lnTo>
                <a:lnTo>
                  <a:pt x="5469" y="753"/>
                </a:lnTo>
                <a:lnTo>
                  <a:pt x="5469" y="749"/>
                </a:lnTo>
                <a:lnTo>
                  <a:pt x="5470" y="748"/>
                </a:lnTo>
                <a:lnTo>
                  <a:pt x="5472" y="746"/>
                </a:lnTo>
                <a:lnTo>
                  <a:pt x="5474" y="746"/>
                </a:lnTo>
                <a:lnTo>
                  <a:pt x="5615" y="746"/>
                </a:lnTo>
                <a:lnTo>
                  <a:pt x="5615" y="746"/>
                </a:lnTo>
                <a:lnTo>
                  <a:pt x="5617" y="746"/>
                </a:lnTo>
                <a:lnTo>
                  <a:pt x="5618" y="744"/>
                </a:lnTo>
                <a:lnTo>
                  <a:pt x="5620" y="743"/>
                </a:lnTo>
                <a:lnTo>
                  <a:pt x="5620" y="739"/>
                </a:lnTo>
                <a:lnTo>
                  <a:pt x="5620" y="633"/>
                </a:lnTo>
                <a:lnTo>
                  <a:pt x="5620" y="633"/>
                </a:lnTo>
                <a:lnTo>
                  <a:pt x="5620" y="631"/>
                </a:lnTo>
                <a:lnTo>
                  <a:pt x="5618" y="629"/>
                </a:lnTo>
                <a:lnTo>
                  <a:pt x="5617" y="627"/>
                </a:lnTo>
                <a:lnTo>
                  <a:pt x="5615" y="627"/>
                </a:lnTo>
                <a:lnTo>
                  <a:pt x="5615" y="627"/>
                </a:lnTo>
                <a:close/>
                <a:moveTo>
                  <a:pt x="6582" y="627"/>
                </a:moveTo>
                <a:lnTo>
                  <a:pt x="6453" y="627"/>
                </a:lnTo>
                <a:lnTo>
                  <a:pt x="6453" y="627"/>
                </a:lnTo>
                <a:lnTo>
                  <a:pt x="6452" y="627"/>
                </a:lnTo>
                <a:lnTo>
                  <a:pt x="6448" y="629"/>
                </a:lnTo>
                <a:lnTo>
                  <a:pt x="6448" y="631"/>
                </a:lnTo>
                <a:lnTo>
                  <a:pt x="6446" y="633"/>
                </a:lnTo>
                <a:lnTo>
                  <a:pt x="6446" y="1004"/>
                </a:lnTo>
                <a:lnTo>
                  <a:pt x="6446" y="1004"/>
                </a:lnTo>
                <a:lnTo>
                  <a:pt x="6446" y="1021"/>
                </a:lnTo>
                <a:lnTo>
                  <a:pt x="6445" y="1038"/>
                </a:lnTo>
                <a:lnTo>
                  <a:pt x="6441" y="1054"/>
                </a:lnTo>
                <a:lnTo>
                  <a:pt x="6438" y="1069"/>
                </a:lnTo>
                <a:lnTo>
                  <a:pt x="6431" y="1085"/>
                </a:lnTo>
                <a:lnTo>
                  <a:pt x="6424" y="1100"/>
                </a:lnTo>
                <a:lnTo>
                  <a:pt x="6417" y="1114"/>
                </a:lnTo>
                <a:lnTo>
                  <a:pt x="6407" y="1126"/>
                </a:lnTo>
                <a:lnTo>
                  <a:pt x="6397" y="1138"/>
                </a:lnTo>
                <a:lnTo>
                  <a:pt x="6385" y="1150"/>
                </a:lnTo>
                <a:lnTo>
                  <a:pt x="6371" y="1158"/>
                </a:lnTo>
                <a:lnTo>
                  <a:pt x="6357" y="1167"/>
                </a:lnTo>
                <a:lnTo>
                  <a:pt x="6342" y="1172"/>
                </a:lnTo>
                <a:lnTo>
                  <a:pt x="6324" y="1177"/>
                </a:lnTo>
                <a:lnTo>
                  <a:pt x="6306" y="1181"/>
                </a:lnTo>
                <a:lnTo>
                  <a:pt x="6287" y="1181"/>
                </a:lnTo>
                <a:lnTo>
                  <a:pt x="6287" y="1181"/>
                </a:lnTo>
                <a:lnTo>
                  <a:pt x="6266" y="1181"/>
                </a:lnTo>
                <a:lnTo>
                  <a:pt x="6245" y="1177"/>
                </a:lnTo>
                <a:lnTo>
                  <a:pt x="6228" y="1172"/>
                </a:lnTo>
                <a:lnTo>
                  <a:pt x="6211" y="1165"/>
                </a:lnTo>
                <a:lnTo>
                  <a:pt x="6197" y="1157"/>
                </a:lnTo>
                <a:lnTo>
                  <a:pt x="6184" y="1146"/>
                </a:lnTo>
                <a:lnTo>
                  <a:pt x="6171" y="1136"/>
                </a:lnTo>
                <a:lnTo>
                  <a:pt x="6161" y="1122"/>
                </a:lnTo>
                <a:lnTo>
                  <a:pt x="6153" y="1109"/>
                </a:lnTo>
                <a:lnTo>
                  <a:pt x="6144" y="1095"/>
                </a:lnTo>
                <a:lnTo>
                  <a:pt x="6139" y="1079"/>
                </a:lnTo>
                <a:lnTo>
                  <a:pt x="6134" y="1064"/>
                </a:lnTo>
                <a:lnTo>
                  <a:pt x="6130" y="1047"/>
                </a:lnTo>
                <a:lnTo>
                  <a:pt x="6127" y="1031"/>
                </a:lnTo>
                <a:lnTo>
                  <a:pt x="6125" y="1014"/>
                </a:lnTo>
                <a:lnTo>
                  <a:pt x="6125" y="997"/>
                </a:lnTo>
                <a:lnTo>
                  <a:pt x="6125" y="633"/>
                </a:lnTo>
                <a:lnTo>
                  <a:pt x="6125" y="633"/>
                </a:lnTo>
                <a:lnTo>
                  <a:pt x="6123" y="631"/>
                </a:lnTo>
                <a:lnTo>
                  <a:pt x="6123" y="629"/>
                </a:lnTo>
                <a:lnTo>
                  <a:pt x="6120" y="627"/>
                </a:lnTo>
                <a:lnTo>
                  <a:pt x="6118" y="627"/>
                </a:lnTo>
                <a:lnTo>
                  <a:pt x="5988" y="627"/>
                </a:lnTo>
                <a:lnTo>
                  <a:pt x="5988" y="627"/>
                </a:lnTo>
                <a:lnTo>
                  <a:pt x="5986" y="627"/>
                </a:lnTo>
                <a:lnTo>
                  <a:pt x="5982" y="629"/>
                </a:lnTo>
                <a:lnTo>
                  <a:pt x="5982" y="631"/>
                </a:lnTo>
                <a:lnTo>
                  <a:pt x="5981" y="633"/>
                </a:lnTo>
                <a:lnTo>
                  <a:pt x="5981" y="997"/>
                </a:lnTo>
                <a:lnTo>
                  <a:pt x="5981" y="997"/>
                </a:lnTo>
                <a:lnTo>
                  <a:pt x="5982" y="1028"/>
                </a:lnTo>
                <a:lnTo>
                  <a:pt x="5986" y="1059"/>
                </a:lnTo>
                <a:lnTo>
                  <a:pt x="5991" y="1088"/>
                </a:lnTo>
                <a:lnTo>
                  <a:pt x="5998" y="1117"/>
                </a:lnTo>
                <a:lnTo>
                  <a:pt x="6007" y="1145"/>
                </a:lnTo>
                <a:lnTo>
                  <a:pt x="6019" y="1171"/>
                </a:lnTo>
                <a:lnTo>
                  <a:pt x="6032" y="1195"/>
                </a:lnTo>
                <a:lnTo>
                  <a:pt x="6050" y="1217"/>
                </a:lnTo>
                <a:lnTo>
                  <a:pt x="6067" y="1238"/>
                </a:lnTo>
                <a:lnTo>
                  <a:pt x="6089" y="1256"/>
                </a:lnTo>
                <a:lnTo>
                  <a:pt x="6111" y="1272"/>
                </a:lnTo>
                <a:lnTo>
                  <a:pt x="6137" y="1286"/>
                </a:lnTo>
                <a:lnTo>
                  <a:pt x="6166" y="1296"/>
                </a:lnTo>
                <a:lnTo>
                  <a:pt x="6197" y="1305"/>
                </a:lnTo>
                <a:lnTo>
                  <a:pt x="6230" y="1310"/>
                </a:lnTo>
                <a:lnTo>
                  <a:pt x="6266" y="1311"/>
                </a:lnTo>
                <a:lnTo>
                  <a:pt x="6266" y="1311"/>
                </a:lnTo>
                <a:lnTo>
                  <a:pt x="6293" y="1310"/>
                </a:lnTo>
                <a:lnTo>
                  <a:pt x="6319" y="1305"/>
                </a:lnTo>
                <a:lnTo>
                  <a:pt x="6343" y="1298"/>
                </a:lnTo>
                <a:lnTo>
                  <a:pt x="6366" y="1289"/>
                </a:lnTo>
                <a:lnTo>
                  <a:pt x="6388" y="1279"/>
                </a:lnTo>
                <a:lnTo>
                  <a:pt x="6405" y="1265"/>
                </a:lnTo>
                <a:lnTo>
                  <a:pt x="6421" y="1253"/>
                </a:lnTo>
                <a:lnTo>
                  <a:pt x="6433" y="1239"/>
                </a:lnTo>
                <a:lnTo>
                  <a:pt x="6433" y="1239"/>
                </a:lnTo>
                <a:lnTo>
                  <a:pt x="6436" y="1238"/>
                </a:lnTo>
                <a:lnTo>
                  <a:pt x="6440" y="1236"/>
                </a:lnTo>
                <a:lnTo>
                  <a:pt x="6445" y="1238"/>
                </a:lnTo>
                <a:lnTo>
                  <a:pt x="6446" y="1241"/>
                </a:lnTo>
                <a:lnTo>
                  <a:pt x="6460" y="1291"/>
                </a:lnTo>
                <a:lnTo>
                  <a:pt x="6460" y="1291"/>
                </a:lnTo>
                <a:lnTo>
                  <a:pt x="6464" y="1296"/>
                </a:lnTo>
                <a:lnTo>
                  <a:pt x="6465" y="1298"/>
                </a:lnTo>
                <a:lnTo>
                  <a:pt x="6469" y="1298"/>
                </a:lnTo>
                <a:lnTo>
                  <a:pt x="6582" y="1298"/>
                </a:lnTo>
                <a:lnTo>
                  <a:pt x="6582" y="1298"/>
                </a:lnTo>
                <a:lnTo>
                  <a:pt x="6586" y="1298"/>
                </a:lnTo>
                <a:lnTo>
                  <a:pt x="6587" y="1296"/>
                </a:lnTo>
                <a:lnTo>
                  <a:pt x="6589" y="1294"/>
                </a:lnTo>
                <a:lnTo>
                  <a:pt x="6589" y="1291"/>
                </a:lnTo>
                <a:lnTo>
                  <a:pt x="6589" y="633"/>
                </a:lnTo>
                <a:lnTo>
                  <a:pt x="6589" y="633"/>
                </a:lnTo>
                <a:lnTo>
                  <a:pt x="6589" y="631"/>
                </a:lnTo>
                <a:lnTo>
                  <a:pt x="6587" y="629"/>
                </a:lnTo>
                <a:lnTo>
                  <a:pt x="6586" y="627"/>
                </a:lnTo>
                <a:lnTo>
                  <a:pt x="6582" y="627"/>
                </a:lnTo>
                <a:lnTo>
                  <a:pt x="6582" y="627"/>
                </a:lnTo>
                <a:close/>
                <a:moveTo>
                  <a:pt x="7417" y="614"/>
                </a:moveTo>
                <a:lnTo>
                  <a:pt x="7417" y="614"/>
                </a:lnTo>
                <a:lnTo>
                  <a:pt x="7390" y="615"/>
                </a:lnTo>
                <a:lnTo>
                  <a:pt x="7362" y="619"/>
                </a:lnTo>
                <a:lnTo>
                  <a:pt x="7336" y="626"/>
                </a:lnTo>
                <a:lnTo>
                  <a:pt x="7312" y="636"/>
                </a:lnTo>
                <a:lnTo>
                  <a:pt x="7288" y="646"/>
                </a:lnTo>
                <a:lnTo>
                  <a:pt x="7266" y="660"/>
                </a:lnTo>
                <a:lnTo>
                  <a:pt x="7247" y="676"/>
                </a:lnTo>
                <a:lnTo>
                  <a:pt x="7228" y="693"/>
                </a:lnTo>
                <a:lnTo>
                  <a:pt x="7228" y="693"/>
                </a:lnTo>
                <a:lnTo>
                  <a:pt x="7225" y="696"/>
                </a:lnTo>
                <a:lnTo>
                  <a:pt x="7221" y="696"/>
                </a:lnTo>
                <a:lnTo>
                  <a:pt x="7218" y="694"/>
                </a:lnTo>
                <a:lnTo>
                  <a:pt x="7214" y="693"/>
                </a:lnTo>
                <a:lnTo>
                  <a:pt x="7214" y="693"/>
                </a:lnTo>
                <a:lnTo>
                  <a:pt x="7197" y="674"/>
                </a:lnTo>
                <a:lnTo>
                  <a:pt x="7178" y="658"/>
                </a:lnTo>
                <a:lnTo>
                  <a:pt x="7159" y="645"/>
                </a:lnTo>
                <a:lnTo>
                  <a:pt x="7139" y="633"/>
                </a:lnTo>
                <a:lnTo>
                  <a:pt x="7115" y="624"/>
                </a:lnTo>
                <a:lnTo>
                  <a:pt x="7091" y="619"/>
                </a:lnTo>
                <a:lnTo>
                  <a:pt x="7063" y="615"/>
                </a:lnTo>
                <a:lnTo>
                  <a:pt x="7034" y="614"/>
                </a:lnTo>
                <a:lnTo>
                  <a:pt x="7034" y="614"/>
                </a:lnTo>
                <a:lnTo>
                  <a:pt x="7010" y="615"/>
                </a:lnTo>
                <a:lnTo>
                  <a:pt x="6986" y="619"/>
                </a:lnTo>
                <a:lnTo>
                  <a:pt x="6962" y="627"/>
                </a:lnTo>
                <a:lnTo>
                  <a:pt x="6941" y="636"/>
                </a:lnTo>
                <a:lnTo>
                  <a:pt x="6921" y="646"/>
                </a:lnTo>
                <a:lnTo>
                  <a:pt x="6902" y="658"/>
                </a:lnTo>
                <a:lnTo>
                  <a:pt x="6886" y="672"/>
                </a:lnTo>
                <a:lnTo>
                  <a:pt x="6874" y="684"/>
                </a:lnTo>
                <a:lnTo>
                  <a:pt x="6874" y="684"/>
                </a:lnTo>
                <a:lnTo>
                  <a:pt x="6871" y="688"/>
                </a:lnTo>
                <a:lnTo>
                  <a:pt x="6866" y="689"/>
                </a:lnTo>
                <a:lnTo>
                  <a:pt x="6862" y="688"/>
                </a:lnTo>
                <a:lnTo>
                  <a:pt x="6859" y="684"/>
                </a:lnTo>
                <a:lnTo>
                  <a:pt x="6847" y="634"/>
                </a:lnTo>
                <a:lnTo>
                  <a:pt x="6847" y="634"/>
                </a:lnTo>
                <a:lnTo>
                  <a:pt x="6845" y="631"/>
                </a:lnTo>
                <a:lnTo>
                  <a:pt x="6843" y="629"/>
                </a:lnTo>
                <a:lnTo>
                  <a:pt x="6840" y="627"/>
                </a:lnTo>
                <a:lnTo>
                  <a:pt x="6836" y="627"/>
                </a:lnTo>
                <a:lnTo>
                  <a:pt x="6725" y="627"/>
                </a:lnTo>
                <a:lnTo>
                  <a:pt x="6725" y="627"/>
                </a:lnTo>
                <a:lnTo>
                  <a:pt x="6721" y="627"/>
                </a:lnTo>
                <a:lnTo>
                  <a:pt x="6720" y="629"/>
                </a:lnTo>
                <a:lnTo>
                  <a:pt x="6718" y="631"/>
                </a:lnTo>
                <a:lnTo>
                  <a:pt x="6718" y="633"/>
                </a:lnTo>
                <a:lnTo>
                  <a:pt x="6718" y="1291"/>
                </a:lnTo>
                <a:lnTo>
                  <a:pt x="6718" y="1291"/>
                </a:lnTo>
                <a:lnTo>
                  <a:pt x="6718" y="1294"/>
                </a:lnTo>
                <a:lnTo>
                  <a:pt x="6720" y="1296"/>
                </a:lnTo>
                <a:lnTo>
                  <a:pt x="6721" y="1298"/>
                </a:lnTo>
                <a:lnTo>
                  <a:pt x="6725" y="1298"/>
                </a:lnTo>
                <a:lnTo>
                  <a:pt x="6854" y="1298"/>
                </a:lnTo>
                <a:lnTo>
                  <a:pt x="6854" y="1298"/>
                </a:lnTo>
                <a:lnTo>
                  <a:pt x="6855" y="1298"/>
                </a:lnTo>
                <a:lnTo>
                  <a:pt x="6857" y="1296"/>
                </a:lnTo>
                <a:lnTo>
                  <a:pt x="6859" y="1294"/>
                </a:lnTo>
                <a:lnTo>
                  <a:pt x="6859" y="1291"/>
                </a:lnTo>
                <a:lnTo>
                  <a:pt x="6859" y="925"/>
                </a:lnTo>
                <a:lnTo>
                  <a:pt x="6859" y="925"/>
                </a:lnTo>
                <a:lnTo>
                  <a:pt x="6860" y="889"/>
                </a:lnTo>
                <a:lnTo>
                  <a:pt x="6864" y="871"/>
                </a:lnTo>
                <a:lnTo>
                  <a:pt x="6866" y="856"/>
                </a:lnTo>
                <a:lnTo>
                  <a:pt x="6871" y="839"/>
                </a:lnTo>
                <a:lnTo>
                  <a:pt x="6876" y="825"/>
                </a:lnTo>
                <a:lnTo>
                  <a:pt x="6881" y="810"/>
                </a:lnTo>
                <a:lnTo>
                  <a:pt x="6888" y="798"/>
                </a:lnTo>
                <a:lnTo>
                  <a:pt x="6897" y="786"/>
                </a:lnTo>
                <a:lnTo>
                  <a:pt x="6907" y="775"/>
                </a:lnTo>
                <a:lnTo>
                  <a:pt x="6917" y="765"/>
                </a:lnTo>
                <a:lnTo>
                  <a:pt x="6929" y="758"/>
                </a:lnTo>
                <a:lnTo>
                  <a:pt x="6943" y="751"/>
                </a:lnTo>
                <a:lnTo>
                  <a:pt x="6958" y="748"/>
                </a:lnTo>
                <a:lnTo>
                  <a:pt x="6976" y="744"/>
                </a:lnTo>
                <a:lnTo>
                  <a:pt x="6993" y="743"/>
                </a:lnTo>
                <a:lnTo>
                  <a:pt x="6993" y="743"/>
                </a:lnTo>
                <a:lnTo>
                  <a:pt x="7013" y="744"/>
                </a:lnTo>
                <a:lnTo>
                  <a:pt x="7031" y="748"/>
                </a:lnTo>
                <a:lnTo>
                  <a:pt x="7046" y="753"/>
                </a:lnTo>
                <a:lnTo>
                  <a:pt x="7060" y="758"/>
                </a:lnTo>
                <a:lnTo>
                  <a:pt x="7074" y="767"/>
                </a:lnTo>
                <a:lnTo>
                  <a:pt x="7084" y="777"/>
                </a:lnTo>
                <a:lnTo>
                  <a:pt x="7092" y="787"/>
                </a:lnTo>
                <a:lnTo>
                  <a:pt x="7101" y="799"/>
                </a:lnTo>
                <a:lnTo>
                  <a:pt x="7108" y="813"/>
                </a:lnTo>
                <a:lnTo>
                  <a:pt x="7113" y="827"/>
                </a:lnTo>
                <a:lnTo>
                  <a:pt x="7118" y="842"/>
                </a:lnTo>
                <a:lnTo>
                  <a:pt x="7122" y="858"/>
                </a:lnTo>
                <a:lnTo>
                  <a:pt x="7127" y="890"/>
                </a:lnTo>
                <a:lnTo>
                  <a:pt x="7127" y="925"/>
                </a:lnTo>
                <a:lnTo>
                  <a:pt x="7127" y="1291"/>
                </a:lnTo>
                <a:lnTo>
                  <a:pt x="7127" y="1291"/>
                </a:lnTo>
                <a:lnTo>
                  <a:pt x="7128" y="1294"/>
                </a:lnTo>
                <a:lnTo>
                  <a:pt x="7128" y="1296"/>
                </a:lnTo>
                <a:lnTo>
                  <a:pt x="7130" y="1298"/>
                </a:lnTo>
                <a:lnTo>
                  <a:pt x="7134" y="1298"/>
                </a:lnTo>
                <a:lnTo>
                  <a:pt x="7264" y="1298"/>
                </a:lnTo>
                <a:lnTo>
                  <a:pt x="7264" y="1298"/>
                </a:lnTo>
                <a:lnTo>
                  <a:pt x="7268" y="1296"/>
                </a:lnTo>
                <a:lnTo>
                  <a:pt x="7269" y="1294"/>
                </a:lnTo>
                <a:lnTo>
                  <a:pt x="7271" y="1291"/>
                </a:lnTo>
                <a:lnTo>
                  <a:pt x="7271" y="925"/>
                </a:lnTo>
                <a:lnTo>
                  <a:pt x="7271" y="925"/>
                </a:lnTo>
                <a:lnTo>
                  <a:pt x="7273" y="889"/>
                </a:lnTo>
                <a:lnTo>
                  <a:pt x="7276" y="856"/>
                </a:lnTo>
                <a:lnTo>
                  <a:pt x="7280" y="839"/>
                </a:lnTo>
                <a:lnTo>
                  <a:pt x="7285" y="825"/>
                </a:lnTo>
                <a:lnTo>
                  <a:pt x="7290" y="810"/>
                </a:lnTo>
                <a:lnTo>
                  <a:pt x="7297" y="798"/>
                </a:lnTo>
                <a:lnTo>
                  <a:pt x="7305" y="786"/>
                </a:lnTo>
                <a:lnTo>
                  <a:pt x="7314" y="775"/>
                </a:lnTo>
                <a:lnTo>
                  <a:pt x="7324" y="765"/>
                </a:lnTo>
                <a:lnTo>
                  <a:pt x="7338" y="758"/>
                </a:lnTo>
                <a:lnTo>
                  <a:pt x="7352" y="751"/>
                </a:lnTo>
                <a:lnTo>
                  <a:pt x="7367" y="748"/>
                </a:lnTo>
                <a:lnTo>
                  <a:pt x="7384" y="744"/>
                </a:lnTo>
                <a:lnTo>
                  <a:pt x="7403" y="743"/>
                </a:lnTo>
                <a:lnTo>
                  <a:pt x="7403" y="743"/>
                </a:lnTo>
                <a:lnTo>
                  <a:pt x="7424" y="744"/>
                </a:lnTo>
                <a:lnTo>
                  <a:pt x="7441" y="748"/>
                </a:lnTo>
                <a:lnTo>
                  <a:pt x="7457" y="753"/>
                </a:lnTo>
                <a:lnTo>
                  <a:pt x="7472" y="760"/>
                </a:lnTo>
                <a:lnTo>
                  <a:pt x="7484" y="767"/>
                </a:lnTo>
                <a:lnTo>
                  <a:pt x="7494" y="777"/>
                </a:lnTo>
                <a:lnTo>
                  <a:pt x="7505" y="789"/>
                </a:lnTo>
                <a:lnTo>
                  <a:pt x="7513" y="801"/>
                </a:lnTo>
                <a:lnTo>
                  <a:pt x="7520" y="813"/>
                </a:lnTo>
                <a:lnTo>
                  <a:pt x="7525" y="828"/>
                </a:lnTo>
                <a:lnTo>
                  <a:pt x="7531" y="842"/>
                </a:lnTo>
                <a:lnTo>
                  <a:pt x="7534" y="859"/>
                </a:lnTo>
                <a:lnTo>
                  <a:pt x="7537" y="892"/>
                </a:lnTo>
                <a:lnTo>
                  <a:pt x="7539" y="925"/>
                </a:lnTo>
                <a:lnTo>
                  <a:pt x="7539" y="1291"/>
                </a:lnTo>
                <a:lnTo>
                  <a:pt x="7539" y="1291"/>
                </a:lnTo>
                <a:lnTo>
                  <a:pt x="7539" y="1294"/>
                </a:lnTo>
                <a:lnTo>
                  <a:pt x="7541" y="1296"/>
                </a:lnTo>
                <a:lnTo>
                  <a:pt x="7543" y="1298"/>
                </a:lnTo>
                <a:lnTo>
                  <a:pt x="7546" y="1298"/>
                </a:lnTo>
                <a:lnTo>
                  <a:pt x="7673" y="1298"/>
                </a:lnTo>
                <a:lnTo>
                  <a:pt x="7673" y="1298"/>
                </a:lnTo>
                <a:lnTo>
                  <a:pt x="7677" y="1298"/>
                </a:lnTo>
                <a:lnTo>
                  <a:pt x="7678" y="1296"/>
                </a:lnTo>
                <a:lnTo>
                  <a:pt x="7680" y="1294"/>
                </a:lnTo>
                <a:lnTo>
                  <a:pt x="7680" y="1291"/>
                </a:lnTo>
                <a:lnTo>
                  <a:pt x="7680" y="921"/>
                </a:lnTo>
                <a:lnTo>
                  <a:pt x="7680" y="921"/>
                </a:lnTo>
                <a:lnTo>
                  <a:pt x="7680" y="883"/>
                </a:lnTo>
                <a:lnTo>
                  <a:pt x="7677" y="849"/>
                </a:lnTo>
                <a:lnTo>
                  <a:pt x="7671" y="818"/>
                </a:lnTo>
                <a:lnTo>
                  <a:pt x="7663" y="787"/>
                </a:lnTo>
                <a:lnTo>
                  <a:pt x="7654" y="760"/>
                </a:lnTo>
                <a:lnTo>
                  <a:pt x="7642" y="734"/>
                </a:lnTo>
                <a:lnTo>
                  <a:pt x="7628" y="712"/>
                </a:lnTo>
                <a:lnTo>
                  <a:pt x="7613" y="691"/>
                </a:lnTo>
                <a:lnTo>
                  <a:pt x="7594" y="672"/>
                </a:lnTo>
                <a:lnTo>
                  <a:pt x="7575" y="657"/>
                </a:lnTo>
                <a:lnTo>
                  <a:pt x="7553" y="645"/>
                </a:lnTo>
                <a:lnTo>
                  <a:pt x="7529" y="633"/>
                </a:lnTo>
                <a:lnTo>
                  <a:pt x="7505" y="624"/>
                </a:lnTo>
                <a:lnTo>
                  <a:pt x="7477" y="619"/>
                </a:lnTo>
                <a:lnTo>
                  <a:pt x="7448" y="614"/>
                </a:lnTo>
                <a:lnTo>
                  <a:pt x="7417" y="614"/>
                </a:lnTo>
                <a:lnTo>
                  <a:pt x="7417" y="614"/>
                </a:lnTo>
                <a:close/>
                <a:moveTo>
                  <a:pt x="5867" y="627"/>
                </a:moveTo>
                <a:lnTo>
                  <a:pt x="5739" y="627"/>
                </a:lnTo>
                <a:lnTo>
                  <a:pt x="5739" y="627"/>
                </a:lnTo>
                <a:lnTo>
                  <a:pt x="5735" y="627"/>
                </a:lnTo>
                <a:lnTo>
                  <a:pt x="5733" y="629"/>
                </a:lnTo>
                <a:lnTo>
                  <a:pt x="5732" y="631"/>
                </a:lnTo>
                <a:lnTo>
                  <a:pt x="5732" y="633"/>
                </a:lnTo>
                <a:lnTo>
                  <a:pt x="5732" y="1291"/>
                </a:lnTo>
                <a:lnTo>
                  <a:pt x="5732" y="1291"/>
                </a:lnTo>
                <a:lnTo>
                  <a:pt x="5732" y="1294"/>
                </a:lnTo>
                <a:lnTo>
                  <a:pt x="5733" y="1296"/>
                </a:lnTo>
                <a:lnTo>
                  <a:pt x="5735" y="1298"/>
                </a:lnTo>
                <a:lnTo>
                  <a:pt x="5739" y="1298"/>
                </a:lnTo>
                <a:lnTo>
                  <a:pt x="5867" y="1298"/>
                </a:lnTo>
                <a:lnTo>
                  <a:pt x="5867" y="1298"/>
                </a:lnTo>
                <a:lnTo>
                  <a:pt x="5871" y="1298"/>
                </a:lnTo>
                <a:lnTo>
                  <a:pt x="5873" y="1296"/>
                </a:lnTo>
                <a:lnTo>
                  <a:pt x="5874" y="1294"/>
                </a:lnTo>
                <a:lnTo>
                  <a:pt x="5874" y="1291"/>
                </a:lnTo>
                <a:lnTo>
                  <a:pt x="5874" y="633"/>
                </a:lnTo>
                <a:lnTo>
                  <a:pt x="5874" y="633"/>
                </a:lnTo>
                <a:lnTo>
                  <a:pt x="5874" y="631"/>
                </a:lnTo>
                <a:lnTo>
                  <a:pt x="5873" y="629"/>
                </a:lnTo>
                <a:lnTo>
                  <a:pt x="5871" y="627"/>
                </a:lnTo>
                <a:lnTo>
                  <a:pt x="5867" y="627"/>
                </a:lnTo>
                <a:lnTo>
                  <a:pt x="5867" y="627"/>
                </a:lnTo>
                <a:close/>
                <a:moveTo>
                  <a:pt x="5804" y="368"/>
                </a:moveTo>
                <a:lnTo>
                  <a:pt x="5804" y="368"/>
                </a:lnTo>
                <a:lnTo>
                  <a:pt x="5785" y="370"/>
                </a:lnTo>
                <a:lnTo>
                  <a:pt x="5769" y="375"/>
                </a:lnTo>
                <a:lnTo>
                  <a:pt x="5754" y="382"/>
                </a:lnTo>
                <a:lnTo>
                  <a:pt x="5742" y="392"/>
                </a:lnTo>
                <a:lnTo>
                  <a:pt x="5732" y="406"/>
                </a:lnTo>
                <a:lnTo>
                  <a:pt x="5723" y="419"/>
                </a:lnTo>
                <a:lnTo>
                  <a:pt x="5718" y="437"/>
                </a:lnTo>
                <a:lnTo>
                  <a:pt x="5716" y="454"/>
                </a:lnTo>
                <a:lnTo>
                  <a:pt x="5716" y="454"/>
                </a:lnTo>
                <a:lnTo>
                  <a:pt x="5718" y="471"/>
                </a:lnTo>
                <a:lnTo>
                  <a:pt x="5723" y="486"/>
                </a:lnTo>
                <a:lnTo>
                  <a:pt x="5732" y="502"/>
                </a:lnTo>
                <a:lnTo>
                  <a:pt x="5742" y="514"/>
                </a:lnTo>
                <a:lnTo>
                  <a:pt x="5754" y="524"/>
                </a:lnTo>
                <a:lnTo>
                  <a:pt x="5769" y="533"/>
                </a:lnTo>
                <a:lnTo>
                  <a:pt x="5785" y="538"/>
                </a:lnTo>
                <a:lnTo>
                  <a:pt x="5804" y="540"/>
                </a:lnTo>
                <a:lnTo>
                  <a:pt x="5804" y="540"/>
                </a:lnTo>
                <a:lnTo>
                  <a:pt x="5821" y="538"/>
                </a:lnTo>
                <a:lnTo>
                  <a:pt x="5836" y="533"/>
                </a:lnTo>
                <a:lnTo>
                  <a:pt x="5852" y="524"/>
                </a:lnTo>
                <a:lnTo>
                  <a:pt x="5864" y="514"/>
                </a:lnTo>
                <a:lnTo>
                  <a:pt x="5874" y="502"/>
                </a:lnTo>
                <a:lnTo>
                  <a:pt x="5883" y="486"/>
                </a:lnTo>
                <a:lnTo>
                  <a:pt x="5888" y="471"/>
                </a:lnTo>
                <a:lnTo>
                  <a:pt x="5890" y="454"/>
                </a:lnTo>
                <a:lnTo>
                  <a:pt x="5890" y="454"/>
                </a:lnTo>
                <a:lnTo>
                  <a:pt x="5888" y="437"/>
                </a:lnTo>
                <a:lnTo>
                  <a:pt x="5883" y="419"/>
                </a:lnTo>
                <a:lnTo>
                  <a:pt x="5874" y="406"/>
                </a:lnTo>
                <a:lnTo>
                  <a:pt x="5864" y="392"/>
                </a:lnTo>
                <a:lnTo>
                  <a:pt x="5852" y="382"/>
                </a:lnTo>
                <a:lnTo>
                  <a:pt x="5836" y="375"/>
                </a:lnTo>
                <a:lnTo>
                  <a:pt x="5821" y="370"/>
                </a:lnTo>
                <a:lnTo>
                  <a:pt x="5804" y="368"/>
                </a:lnTo>
                <a:lnTo>
                  <a:pt x="5804" y="368"/>
                </a:lnTo>
                <a:close/>
                <a:moveTo>
                  <a:pt x="967" y="0"/>
                </a:moveTo>
                <a:lnTo>
                  <a:pt x="967" y="0"/>
                </a:lnTo>
                <a:lnTo>
                  <a:pt x="917" y="0"/>
                </a:lnTo>
                <a:lnTo>
                  <a:pt x="868" y="5"/>
                </a:lnTo>
                <a:lnTo>
                  <a:pt x="820" y="10"/>
                </a:lnTo>
                <a:lnTo>
                  <a:pt x="771" y="19"/>
                </a:lnTo>
                <a:lnTo>
                  <a:pt x="725" y="29"/>
                </a:lnTo>
                <a:lnTo>
                  <a:pt x="679" y="43"/>
                </a:lnTo>
                <a:lnTo>
                  <a:pt x="634" y="58"/>
                </a:lnTo>
                <a:lnTo>
                  <a:pt x="591" y="76"/>
                </a:lnTo>
                <a:lnTo>
                  <a:pt x="548" y="95"/>
                </a:lnTo>
                <a:lnTo>
                  <a:pt x="505" y="117"/>
                </a:lnTo>
                <a:lnTo>
                  <a:pt x="466" y="139"/>
                </a:lnTo>
                <a:lnTo>
                  <a:pt x="426" y="165"/>
                </a:lnTo>
                <a:lnTo>
                  <a:pt x="388" y="193"/>
                </a:lnTo>
                <a:lnTo>
                  <a:pt x="352" y="220"/>
                </a:lnTo>
                <a:lnTo>
                  <a:pt x="316" y="251"/>
                </a:lnTo>
                <a:lnTo>
                  <a:pt x="283" y="284"/>
                </a:lnTo>
                <a:lnTo>
                  <a:pt x="251" y="316"/>
                </a:lnTo>
                <a:lnTo>
                  <a:pt x="220" y="352"/>
                </a:lnTo>
                <a:lnTo>
                  <a:pt x="192" y="388"/>
                </a:lnTo>
                <a:lnTo>
                  <a:pt x="165" y="426"/>
                </a:lnTo>
                <a:lnTo>
                  <a:pt x="139" y="466"/>
                </a:lnTo>
                <a:lnTo>
                  <a:pt x="117" y="505"/>
                </a:lnTo>
                <a:lnTo>
                  <a:pt x="94" y="548"/>
                </a:lnTo>
                <a:lnTo>
                  <a:pt x="76" y="591"/>
                </a:lnTo>
                <a:lnTo>
                  <a:pt x="58" y="634"/>
                </a:lnTo>
                <a:lnTo>
                  <a:pt x="43" y="679"/>
                </a:lnTo>
                <a:lnTo>
                  <a:pt x="29" y="725"/>
                </a:lnTo>
                <a:lnTo>
                  <a:pt x="19" y="772"/>
                </a:lnTo>
                <a:lnTo>
                  <a:pt x="10" y="820"/>
                </a:lnTo>
                <a:lnTo>
                  <a:pt x="5" y="868"/>
                </a:lnTo>
                <a:lnTo>
                  <a:pt x="0" y="918"/>
                </a:lnTo>
                <a:lnTo>
                  <a:pt x="0" y="968"/>
                </a:lnTo>
                <a:lnTo>
                  <a:pt x="0" y="968"/>
                </a:lnTo>
                <a:lnTo>
                  <a:pt x="0" y="1018"/>
                </a:lnTo>
                <a:lnTo>
                  <a:pt x="5" y="1067"/>
                </a:lnTo>
                <a:lnTo>
                  <a:pt x="10" y="1116"/>
                </a:lnTo>
                <a:lnTo>
                  <a:pt x="19" y="1162"/>
                </a:lnTo>
                <a:lnTo>
                  <a:pt x="29" y="1210"/>
                </a:lnTo>
                <a:lnTo>
                  <a:pt x="43" y="1255"/>
                </a:lnTo>
                <a:lnTo>
                  <a:pt x="58" y="1301"/>
                </a:lnTo>
                <a:lnTo>
                  <a:pt x="76" y="1344"/>
                </a:lnTo>
                <a:lnTo>
                  <a:pt x="94" y="1387"/>
                </a:lnTo>
                <a:lnTo>
                  <a:pt x="117" y="1428"/>
                </a:lnTo>
                <a:lnTo>
                  <a:pt x="139" y="1470"/>
                </a:lnTo>
                <a:lnTo>
                  <a:pt x="165" y="1509"/>
                </a:lnTo>
                <a:lnTo>
                  <a:pt x="192" y="1547"/>
                </a:lnTo>
                <a:lnTo>
                  <a:pt x="220" y="1583"/>
                </a:lnTo>
                <a:lnTo>
                  <a:pt x="251" y="1619"/>
                </a:lnTo>
                <a:lnTo>
                  <a:pt x="283" y="1652"/>
                </a:lnTo>
                <a:lnTo>
                  <a:pt x="316" y="1684"/>
                </a:lnTo>
                <a:lnTo>
                  <a:pt x="352" y="1715"/>
                </a:lnTo>
                <a:lnTo>
                  <a:pt x="388" y="1743"/>
                </a:lnTo>
                <a:lnTo>
                  <a:pt x="426" y="1770"/>
                </a:lnTo>
                <a:lnTo>
                  <a:pt x="466" y="1796"/>
                </a:lnTo>
                <a:lnTo>
                  <a:pt x="505" y="1819"/>
                </a:lnTo>
                <a:lnTo>
                  <a:pt x="548" y="1841"/>
                </a:lnTo>
                <a:lnTo>
                  <a:pt x="591" y="1860"/>
                </a:lnTo>
                <a:lnTo>
                  <a:pt x="634" y="1877"/>
                </a:lnTo>
                <a:lnTo>
                  <a:pt x="679" y="1892"/>
                </a:lnTo>
                <a:lnTo>
                  <a:pt x="725" y="1904"/>
                </a:lnTo>
                <a:lnTo>
                  <a:pt x="771" y="1916"/>
                </a:lnTo>
                <a:lnTo>
                  <a:pt x="820" y="1925"/>
                </a:lnTo>
                <a:lnTo>
                  <a:pt x="868" y="1930"/>
                </a:lnTo>
                <a:lnTo>
                  <a:pt x="917" y="1934"/>
                </a:lnTo>
                <a:lnTo>
                  <a:pt x="967" y="1935"/>
                </a:lnTo>
                <a:lnTo>
                  <a:pt x="967" y="1935"/>
                </a:lnTo>
                <a:lnTo>
                  <a:pt x="1017" y="1934"/>
                </a:lnTo>
                <a:lnTo>
                  <a:pt x="1067" y="1930"/>
                </a:lnTo>
                <a:lnTo>
                  <a:pt x="1115" y="1925"/>
                </a:lnTo>
                <a:lnTo>
                  <a:pt x="1161" y="1916"/>
                </a:lnTo>
                <a:lnTo>
                  <a:pt x="1210" y="1904"/>
                </a:lnTo>
                <a:lnTo>
                  <a:pt x="1254" y="1892"/>
                </a:lnTo>
                <a:lnTo>
                  <a:pt x="1301" y="1877"/>
                </a:lnTo>
                <a:lnTo>
                  <a:pt x="1344" y="1860"/>
                </a:lnTo>
                <a:lnTo>
                  <a:pt x="1387" y="1841"/>
                </a:lnTo>
                <a:lnTo>
                  <a:pt x="1428" y="1819"/>
                </a:lnTo>
                <a:lnTo>
                  <a:pt x="1469" y="1796"/>
                </a:lnTo>
                <a:lnTo>
                  <a:pt x="1509" y="1770"/>
                </a:lnTo>
                <a:lnTo>
                  <a:pt x="1546" y="1743"/>
                </a:lnTo>
                <a:lnTo>
                  <a:pt x="1582" y="1715"/>
                </a:lnTo>
                <a:lnTo>
                  <a:pt x="1618" y="1684"/>
                </a:lnTo>
                <a:lnTo>
                  <a:pt x="1651" y="1652"/>
                </a:lnTo>
                <a:lnTo>
                  <a:pt x="1684" y="1619"/>
                </a:lnTo>
                <a:lnTo>
                  <a:pt x="1715" y="1583"/>
                </a:lnTo>
                <a:lnTo>
                  <a:pt x="1742" y="1547"/>
                </a:lnTo>
                <a:lnTo>
                  <a:pt x="1770" y="1509"/>
                </a:lnTo>
                <a:lnTo>
                  <a:pt x="1795" y="1470"/>
                </a:lnTo>
                <a:lnTo>
                  <a:pt x="1818" y="1428"/>
                </a:lnTo>
                <a:lnTo>
                  <a:pt x="1840" y="1387"/>
                </a:lnTo>
                <a:lnTo>
                  <a:pt x="1859" y="1344"/>
                </a:lnTo>
                <a:lnTo>
                  <a:pt x="1876" y="1301"/>
                </a:lnTo>
                <a:lnTo>
                  <a:pt x="1892" y="1255"/>
                </a:lnTo>
                <a:lnTo>
                  <a:pt x="1904" y="1210"/>
                </a:lnTo>
                <a:lnTo>
                  <a:pt x="1916" y="1162"/>
                </a:lnTo>
                <a:lnTo>
                  <a:pt x="1924" y="1116"/>
                </a:lnTo>
                <a:lnTo>
                  <a:pt x="1929" y="1067"/>
                </a:lnTo>
                <a:lnTo>
                  <a:pt x="1933" y="1018"/>
                </a:lnTo>
                <a:lnTo>
                  <a:pt x="1935" y="968"/>
                </a:lnTo>
                <a:lnTo>
                  <a:pt x="1935" y="968"/>
                </a:lnTo>
                <a:lnTo>
                  <a:pt x="1933" y="918"/>
                </a:lnTo>
                <a:lnTo>
                  <a:pt x="1929" y="868"/>
                </a:lnTo>
                <a:lnTo>
                  <a:pt x="1924" y="820"/>
                </a:lnTo>
                <a:lnTo>
                  <a:pt x="1916" y="772"/>
                </a:lnTo>
                <a:lnTo>
                  <a:pt x="1904" y="725"/>
                </a:lnTo>
                <a:lnTo>
                  <a:pt x="1892" y="679"/>
                </a:lnTo>
                <a:lnTo>
                  <a:pt x="1876" y="634"/>
                </a:lnTo>
                <a:lnTo>
                  <a:pt x="1859" y="591"/>
                </a:lnTo>
                <a:lnTo>
                  <a:pt x="1840" y="548"/>
                </a:lnTo>
                <a:lnTo>
                  <a:pt x="1818" y="505"/>
                </a:lnTo>
                <a:lnTo>
                  <a:pt x="1795" y="466"/>
                </a:lnTo>
                <a:lnTo>
                  <a:pt x="1770" y="426"/>
                </a:lnTo>
                <a:lnTo>
                  <a:pt x="1742" y="388"/>
                </a:lnTo>
                <a:lnTo>
                  <a:pt x="1715" y="352"/>
                </a:lnTo>
                <a:lnTo>
                  <a:pt x="1684" y="316"/>
                </a:lnTo>
                <a:lnTo>
                  <a:pt x="1651" y="284"/>
                </a:lnTo>
                <a:lnTo>
                  <a:pt x="1618" y="251"/>
                </a:lnTo>
                <a:lnTo>
                  <a:pt x="1582" y="220"/>
                </a:lnTo>
                <a:lnTo>
                  <a:pt x="1546" y="193"/>
                </a:lnTo>
                <a:lnTo>
                  <a:pt x="1509" y="165"/>
                </a:lnTo>
                <a:lnTo>
                  <a:pt x="1469" y="139"/>
                </a:lnTo>
                <a:lnTo>
                  <a:pt x="1428" y="117"/>
                </a:lnTo>
                <a:lnTo>
                  <a:pt x="1387" y="95"/>
                </a:lnTo>
                <a:lnTo>
                  <a:pt x="1344" y="76"/>
                </a:lnTo>
                <a:lnTo>
                  <a:pt x="1301" y="58"/>
                </a:lnTo>
                <a:lnTo>
                  <a:pt x="1254" y="43"/>
                </a:lnTo>
                <a:lnTo>
                  <a:pt x="1210" y="29"/>
                </a:lnTo>
                <a:lnTo>
                  <a:pt x="1161" y="19"/>
                </a:lnTo>
                <a:lnTo>
                  <a:pt x="1115" y="10"/>
                </a:lnTo>
                <a:lnTo>
                  <a:pt x="1067" y="5"/>
                </a:lnTo>
                <a:lnTo>
                  <a:pt x="1017" y="0"/>
                </a:lnTo>
                <a:lnTo>
                  <a:pt x="967" y="0"/>
                </a:lnTo>
                <a:lnTo>
                  <a:pt x="967" y="0"/>
                </a:lnTo>
                <a:close/>
                <a:moveTo>
                  <a:pt x="711" y="1224"/>
                </a:moveTo>
                <a:lnTo>
                  <a:pt x="711" y="1224"/>
                </a:lnTo>
                <a:lnTo>
                  <a:pt x="686" y="1196"/>
                </a:lnTo>
                <a:lnTo>
                  <a:pt x="665" y="1167"/>
                </a:lnTo>
                <a:lnTo>
                  <a:pt x="646" y="1136"/>
                </a:lnTo>
                <a:lnTo>
                  <a:pt x="631" y="1103"/>
                </a:lnTo>
                <a:lnTo>
                  <a:pt x="619" y="1071"/>
                </a:lnTo>
                <a:lnTo>
                  <a:pt x="612" y="1036"/>
                </a:lnTo>
                <a:lnTo>
                  <a:pt x="606" y="1002"/>
                </a:lnTo>
                <a:lnTo>
                  <a:pt x="605" y="968"/>
                </a:lnTo>
                <a:lnTo>
                  <a:pt x="606" y="933"/>
                </a:lnTo>
                <a:lnTo>
                  <a:pt x="612" y="899"/>
                </a:lnTo>
                <a:lnTo>
                  <a:pt x="619" y="865"/>
                </a:lnTo>
                <a:lnTo>
                  <a:pt x="631" y="830"/>
                </a:lnTo>
                <a:lnTo>
                  <a:pt x="646" y="799"/>
                </a:lnTo>
                <a:lnTo>
                  <a:pt x="665" y="768"/>
                </a:lnTo>
                <a:lnTo>
                  <a:pt x="686" y="739"/>
                </a:lnTo>
                <a:lnTo>
                  <a:pt x="711" y="712"/>
                </a:lnTo>
                <a:lnTo>
                  <a:pt x="711" y="712"/>
                </a:lnTo>
                <a:lnTo>
                  <a:pt x="739" y="686"/>
                </a:lnTo>
                <a:lnTo>
                  <a:pt x="768" y="665"/>
                </a:lnTo>
                <a:lnTo>
                  <a:pt x="799" y="646"/>
                </a:lnTo>
                <a:lnTo>
                  <a:pt x="830" y="631"/>
                </a:lnTo>
                <a:lnTo>
                  <a:pt x="864" y="619"/>
                </a:lnTo>
                <a:lnTo>
                  <a:pt x="899" y="612"/>
                </a:lnTo>
                <a:lnTo>
                  <a:pt x="933" y="607"/>
                </a:lnTo>
                <a:lnTo>
                  <a:pt x="967" y="605"/>
                </a:lnTo>
                <a:lnTo>
                  <a:pt x="1002" y="607"/>
                </a:lnTo>
                <a:lnTo>
                  <a:pt x="1036" y="612"/>
                </a:lnTo>
                <a:lnTo>
                  <a:pt x="1070" y="619"/>
                </a:lnTo>
                <a:lnTo>
                  <a:pt x="1103" y="631"/>
                </a:lnTo>
                <a:lnTo>
                  <a:pt x="1136" y="646"/>
                </a:lnTo>
                <a:lnTo>
                  <a:pt x="1167" y="665"/>
                </a:lnTo>
                <a:lnTo>
                  <a:pt x="1196" y="686"/>
                </a:lnTo>
                <a:lnTo>
                  <a:pt x="1223" y="712"/>
                </a:lnTo>
                <a:lnTo>
                  <a:pt x="1223" y="712"/>
                </a:lnTo>
                <a:lnTo>
                  <a:pt x="1249" y="739"/>
                </a:lnTo>
                <a:lnTo>
                  <a:pt x="1270" y="768"/>
                </a:lnTo>
                <a:lnTo>
                  <a:pt x="1289" y="799"/>
                </a:lnTo>
                <a:lnTo>
                  <a:pt x="1304" y="830"/>
                </a:lnTo>
                <a:lnTo>
                  <a:pt x="1314" y="865"/>
                </a:lnTo>
                <a:lnTo>
                  <a:pt x="1323" y="899"/>
                </a:lnTo>
                <a:lnTo>
                  <a:pt x="1328" y="933"/>
                </a:lnTo>
                <a:lnTo>
                  <a:pt x="1330" y="968"/>
                </a:lnTo>
                <a:lnTo>
                  <a:pt x="1328" y="1002"/>
                </a:lnTo>
                <a:lnTo>
                  <a:pt x="1323" y="1036"/>
                </a:lnTo>
                <a:lnTo>
                  <a:pt x="1314" y="1071"/>
                </a:lnTo>
                <a:lnTo>
                  <a:pt x="1304" y="1103"/>
                </a:lnTo>
                <a:lnTo>
                  <a:pt x="1289" y="1136"/>
                </a:lnTo>
                <a:lnTo>
                  <a:pt x="1270" y="1167"/>
                </a:lnTo>
                <a:lnTo>
                  <a:pt x="1249" y="1196"/>
                </a:lnTo>
                <a:lnTo>
                  <a:pt x="1223" y="1224"/>
                </a:lnTo>
                <a:lnTo>
                  <a:pt x="1223" y="1224"/>
                </a:lnTo>
                <a:lnTo>
                  <a:pt x="1196" y="1250"/>
                </a:lnTo>
                <a:lnTo>
                  <a:pt x="1167" y="1270"/>
                </a:lnTo>
                <a:lnTo>
                  <a:pt x="1136" y="1289"/>
                </a:lnTo>
                <a:lnTo>
                  <a:pt x="1103" y="1305"/>
                </a:lnTo>
                <a:lnTo>
                  <a:pt x="1070" y="1315"/>
                </a:lnTo>
                <a:lnTo>
                  <a:pt x="1036" y="1324"/>
                </a:lnTo>
                <a:lnTo>
                  <a:pt x="1002" y="1329"/>
                </a:lnTo>
                <a:lnTo>
                  <a:pt x="967" y="1330"/>
                </a:lnTo>
                <a:lnTo>
                  <a:pt x="933" y="1329"/>
                </a:lnTo>
                <a:lnTo>
                  <a:pt x="899" y="1324"/>
                </a:lnTo>
                <a:lnTo>
                  <a:pt x="864" y="1315"/>
                </a:lnTo>
                <a:lnTo>
                  <a:pt x="830" y="1305"/>
                </a:lnTo>
                <a:lnTo>
                  <a:pt x="799" y="1289"/>
                </a:lnTo>
                <a:lnTo>
                  <a:pt x="768" y="1270"/>
                </a:lnTo>
                <a:lnTo>
                  <a:pt x="739" y="1250"/>
                </a:lnTo>
                <a:lnTo>
                  <a:pt x="711" y="1224"/>
                </a:lnTo>
                <a:lnTo>
                  <a:pt x="711" y="1224"/>
                </a:lnTo>
                <a:close/>
                <a:moveTo>
                  <a:pt x="1438" y="1619"/>
                </a:moveTo>
                <a:lnTo>
                  <a:pt x="1438" y="1619"/>
                </a:lnTo>
                <a:lnTo>
                  <a:pt x="1419" y="1619"/>
                </a:lnTo>
                <a:lnTo>
                  <a:pt x="1400" y="1616"/>
                </a:lnTo>
                <a:lnTo>
                  <a:pt x="1383" y="1612"/>
                </a:lnTo>
                <a:lnTo>
                  <a:pt x="1368" y="1605"/>
                </a:lnTo>
                <a:lnTo>
                  <a:pt x="1350" y="1599"/>
                </a:lnTo>
                <a:lnTo>
                  <a:pt x="1337" y="1588"/>
                </a:lnTo>
                <a:lnTo>
                  <a:pt x="1323" y="1578"/>
                </a:lnTo>
                <a:lnTo>
                  <a:pt x="1309" y="1566"/>
                </a:lnTo>
                <a:lnTo>
                  <a:pt x="1297" y="1554"/>
                </a:lnTo>
                <a:lnTo>
                  <a:pt x="1287" y="1540"/>
                </a:lnTo>
                <a:lnTo>
                  <a:pt x="1278" y="1525"/>
                </a:lnTo>
                <a:lnTo>
                  <a:pt x="1270" y="1509"/>
                </a:lnTo>
                <a:lnTo>
                  <a:pt x="1265" y="1492"/>
                </a:lnTo>
                <a:lnTo>
                  <a:pt x="1259" y="1475"/>
                </a:lnTo>
                <a:lnTo>
                  <a:pt x="1258" y="1458"/>
                </a:lnTo>
                <a:lnTo>
                  <a:pt x="1256" y="1439"/>
                </a:lnTo>
                <a:lnTo>
                  <a:pt x="1256" y="1439"/>
                </a:lnTo>
                <a:lnTo>
                  <a:pt x="1258" y="1420"/>
                </a:lnTo>
                <a:lnTo>
                  <a:pt x="1259" y="1401"/>
                </a:lnTo>
                <a:lnTo>
                  <a:pt x="1265" y="1384"/>
                </a:lnTo>
                <a:lnTo>
                  <a:pt x="1270" y="1368"/>
                </a:lnTo>
                <a:lnTo>
                  <a:pt x="1278" y="1351"/>
                </a:lnTo>
                <a:lnTo>
                  <a:pt x="1287" y="1337"/>
                </a:lnTo>
                <a:lnTo>
                  <a:pt x="1297" y="1324"/>
                </a:lnTo>
                <a:lnTo>
                  <a:pt x="1309" y="1310"/>
                </a:lnTo>
                <a:lnTo>
                  <a:pt x="1323" y="1298"/>
                </a:lnTo>
                <a:lnTo>
                  <a:pt x="1337" y="1287"/>
                </a:lnTo>
                <a:lnTo>
                  <a:pt x="1350" y="1279"/>
                </a:lnTo>
                <a:lnTo>
                  <a:pt x="1368" y="1270"/>
                </a:lnTo>
                <a:lnTo>
                  <a:pt x="1383" y="1265"/>
                </a:lnTo>
                <a:lnTo>
                  <a:pt x="1400" y="1260"/>
                </a:lnTo>
                <a:lnTo>
                  <a:pt x="1419" y="1258"/>
                </a:lnTo>
                <a:lnTo>
                  <a:pt x="1438" y="1256"/>
                </a:lnTo>
                <a:lnTo>
                  <a:pt x="1438" y="1256"/>
                </a:lnTo>
                <a:lnTo>
                  <a:pt x="1457" y="1258"/>
                </a:lnTo>
                <a:lnTo>
                  <a:pt x="1474" y="1260"/>
                </a:lnTo>
                <a:lnTo>
                  <a:pt x="1491" y="1265"/>
                </a:lnTo>
                <a:lnTo>
                  <a:pt x="1509" y="1270"/>
                </a:lnTo>
                <a:lnTo>
                  <a:pt x="1524" y="1279"/>
                </a:lnTo>
                <a:lnTo>
                  <a:pt x="1539" y="1287"/>
                </a:lnTo>
                <a:lnTo>
                  <a:pt x="1553" y="1298"/>
                </a:lnTo>
                <a:lnTo>
                  <a:pt x="1565" y="1310"/>
                </a:lnTo>
                <a:lnTo>
                  <a:pt x="1577" y="1324"/>
                </a:lnTo>
                <a:lnTo>
                  <a:pt x="1588" y="1337"/>
                </a:lnTo>
                <a:lnTo>
                  <a:pt x="1598" y="1351"/>
                </a:lnTo>
                <a:lnTo>
                  <a:pt x="1605" y="1368"/>
                </a:lnTo>
                <a:lnTo>
                  <a:pt x="1612" y="1384"/>
                </a:lnTo>
                <a:lnTo>
                  <a:pt x="1615" y="1401"/>
                </a:lnTo>
                <a:lnTo>
                  <a:pt x="1618" y="1420"/>
                </a:lnTo>
                <a:lnTo>
                  <a:pt x="1618" y="1439"/>
                </a:lnTo>
                <a:lnTo>
                  <a:pt x="1618" y="1439"/>
                </a:lnTo>
                <a:lnTo>
                  <a:pt x="1618" y="1458"/>
                </a:lnTo>
                <a:lnTo>
                  <a:pt x="1615" y="1475"/>
                </a:lnTo>
                <a:lnTo>
                  <a:pt x="1612" y="1492"/>
                </a:lnTo>
                <a:lnTo>
                  <a:pt x="1605" y="1509"/>
                </a:lnTo>
                <a:lnTo>
                  <a:pt x="1598" y="1525"/>
                </a:lnTo>
                <a:lnTo>
                  <a:pt x="1588" y="1540"/>
                </a:lnTo>
                <a:lnTo>
                  <a:pt x="1577" y="1554"/>
                </a:lnTo>
                <a:lnTo>
                  <a:pt x="1565" y="1566"/>
                </a:lnTo>
                <a:lnTo>
                  <a:pt x="1553" y="1578"/>
                </a:lnTo>
                <a:lnTo>
                  <a:pt x="1539" y="1588"/>
                </a:lnTo>
                <a:lnTo>
                  <a:pt x="1524" y="1599"/>
                </a:lnTo>
                <a:lnTo>
                  <a:pt x="1509" y="1605"/>
                </a:lnTo>
                <a:lnTo>
                  <a:pt x="1491" y="1612"/>
                </a:lnTo>
                <a:lnTo>
                  <a:pt x="1474" y="1616"/>
                </a:lnTo>
                <a:lnTo>
                  <a:pt x="1457" y="1619"/>
                </a:lnTo>
                <a:lnTo>
                  <a:pt x="1438" y="1619"/>
                </a:lnTo>
                <a:lnTo>
                  <a:pt x="1438" y="1619"/>
                </a:lnTo>
                <a:close/>
                <a:moveTo>
                  <a:pt x="1823" y="1702"/>
                </a:moveTo>
                <a:lnTo>
                  <a:pt x="1823" y="1702"/>
                </a:lnTo>
                <a:lnTo>
                  <a:pt x="1811" y="1703"/>
                </a:lnTo>
                <a:lnTo>
                  <a:pt x="1799" y="1705"/>
                </a:lnTo>
                <a:lnTo>
                  <a:pt x="1787" y="1709"/>
                </a:lnTo>
                <a:lnTo>
                  <a:pt x="1775" y="1712"/>
                </a:lnTo>
                <a:lnTo>
                  <a:pt x="1765" y="1717"/>
                </a:lnTo>
                <a:lnTo>
                  <a:pt x="1754" y="1722"/>
                </a:lnTo>
                <a:lnTo>
                  <a:pt x="1746" y="1731"/>
                </a:lnTo>
                <a:lnTo>
                  <a:pt x="1737" y="1738"/>
                </a:lnTo>
                <a:lnTo>
                  <a:pt x="1728" y="1746"/>
                </a:lnTo>
                <a:lnTo>
                  <a:pt x="1722" y="1755"/>
                </a:lnTo>
                <a:lnTo>
                  <a:pt x="1716" y="1765"/>
                </a:lnTo>
                <a:lnTo>
                  <a:pt x="1711" y="1776"/>
                </a:lnTo>
                <a:lnTo>
                  <a:pt x="1708" y="1788"/>
                </a:lnTo>
                <a:lnTo>
                  <a:pt x="1704" y="1800"/>
                </a:lnTo>
                <a:lnTo>
                  <a:pt x="1703" y="1812"/>
                </a:lnTo>
                <a:lnTo>
                  <a:pt x="1701" y="1824"/>
                </a:lnTo>
                <a:lnTo>
                  <a:pt x="1701" y="1824"/>
                </a:lnTo>
                <a:lnTo>
                  <a:pt x="1703" y="1836"/>
                </a:lnTo>
                <a:lnTo>
                  <a:pt x="1704" y="1848"/>
                </a:lnTo>
                <a:lnTo>
                  <a:pt x="1708" y="1860"/>
                </a:lnTo>
                <a:lnTo>
                  <a:pt x="1711" y="1870"/>
                </a:lnTo>
                <a:lnTo>
                  <a:pt x="1716" y="1880"/>
                </a:lnTo>
                <a:lnTo>
                  <a:pt x="1722" y="1891"/>
                </a:lnTo>
                <a:lnTo>
                  <a:pt x="1728" y="1901"/>
                </a:lnTo>
                <a:lnTo>
                  <a:pt x="1737" y="1910"/>
                </a:lnTo>
                <a:lnTo>
                  <a:pt x="1746" y="1916"/>
                </a:lnTo>
                <a:lnTo>
                  <a:pt x="1754" y="1923"/>
                </a:lnTo>
                <a:lnTo>
                  <a:pt x="1765" y="1930"/>
                </a:lnTo>
                <a:lnTo>
                  <a:pt x="1775" y="1935"/>
                </a:lnTo>
                <a:lnTo>
                  <a:pt x="1787" y="1939"/>
                </a:lnTo>
                <a:lnTo>
                  <a:pt x="1799" y="1942"/>
                </a:lnTo>
                <a:lnTo>
                  <a:pt x="1811" y="1944"/>
                </a:lnTo>
                <a:lnTo>
                  <a:pt x="1823" y="1944"/>
                </a:lnTo>
                <a:lnTo>
                  <a:pt x="1823" y="1944"/>
                </a:lnTo>
                <a:lnTo>
                  <a:pt x="1835" y="1944"/>
                </a:lnTo>
                <a:lnTo>
                  <a:pt x="1847" y="1942"/>
                </a:lnTo>
                <a:lnTo>
                  <a:pt x="1859" y="1939"/>
                </a:lnTo>
                <a:lnTo>
                  <a:pt x="1869" y="1935"/>
                </a:lnTo>
                <a:lnTo>
                  <a:pt x="1880" y="1930"/>
                </a:lnTo>
                <a:lnTo>
                  <a:pt x="1890" y="1923"/>
                </a:lnTo>
                <a:lnTo>
                  <a:pt x="1900" y="1916"/>
                </a:lnTo>
                <a:lnTo>
                  <a:pt x="1909" y="1910"/>
                </a:lnTo>
                <a:lnTo>
                  <a:pt x="1916" y="1901"/>
                </a:lnTo>
                <a:lnTo>
                  <a:pt x="1923" y="1891"/>
                </a:lnTo>
                <a:lnTo>
                  <a:pt x="1929" y="1880"/>
                </a:lnTo>
                <a:lnTo>
                  <a:pt x="1935" y="1870"/>
                </a:lnTo>
                <a:lnTo>
                  <a:pt x="1938" y="1860"/>
                </a:lnTo>
                <a:lnTo>
                  <a:pt x="1941" y="1848"/>
                </a:lnTo>
                <a:lnTo>
                  <a:pt x="1943" y="1836"/>
                </a:lnTo>
                <a:lnTo>
                  <a:pt x="1943" y="1824"/>
                </a:lnTo>
                <a:lnTo>
                  <a:pt x="1943" y="1824"/>
                </a:lnTo>
                <a:lnTo>
                  <a:pt x="1943" y="1812"/>
                </a:lnTo>
                <a:lnTo>
                  <a:pt x="1941" y="1800"/>
                </a:lnTo>
                <a:lnTo>
                  <a:pt x="1938" y="1788"/>
                </a:lnTo>
                <a:lnTo>
                  <a:pt x="1935" y="1776"/>
                </a:lnTo>
                <a:lnTo>
                  <a:pt x="1929" y="1765"/>
                </a:lnTo>
                <a:lnTo>
                  <a:pt x="1923" y="1755"/>
                </a:lnTo>
                <a:lnTo>
                  <a:pt x="1916" y="1746"/>
                </a:lnTo>
                <a:lnTo>
                  <a:pt x="1909" y="1738"/>
                </a:lnTo>
                <a:lnTo>
                  <a:pt x="1900" y="1731"/>
                </a:lnTo>
                <a:lnTo>
                  <a:pt x="1890" y="1722"/>
                </a:lnTo>
                <a:lnTo>
                  <a:pt x="1880" y="1717"/>
                </a:lnTo>
                <a:lnTo>
                  <a:pt x="1869" y="1712"/>
                </a:lnTo>
                <a:lnTo>
                  <a:pt x="1859" y="1709"/>
                </a:lnTo>
                <a:lnTo>
                  <a:pt x="1847" y="1705"/>
                </a:lnTo>
                <a:lnTo>
                  <a:pt x="1835" y="1703"/>
                </a:lnTo>
                <a:lnTo>
                  <a:pt x="1823" y="1702"/>
                </a:lnTo>
                <a:lnTo>
                  <a:pt x="1823" y="1702"/>
                </a:lnTo>
                <a:close/>
              </a:path>
            </a:pathLst>
          </a:custGeom>
          <a:solidFill>
            <a:srgbClr val="00000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 name="Content Placeholder 2">
            <a:extLst>
              <a:ext uri="{FF2B5EF4-FFF2-40B4-BE49-F238E27FC236}">
                <a16:creationId xmlns:a16="http://schemas.microsoft.com/office/drawing/2014/main" id="{FC719612-76E9-4ED5-AF44-0A5449D2396B}"/>
              </a:ext>
            </a:extLst>
          </p:cNvPr>
          <p:cNvSpPr>
            <a:spLocks noGrp="1"/>
          </p:cNvSpPr>
          <p:nvPr>
            <p:ph idx="1" hasCustomPrompt="1"/>
          </p:nvPr>
        </p:nvSpPr>
        <p:spPr>
          <a:xfrm>
            <a:off x="972542" y="453373"/>
            <a:ext cx="8515945" cy="830681"/>
          </a:xfrm>
          <a:prstGeom prst="rect">
            <a:avLst/>
          </a:prstGeom>
        </p:spPr>
        <p:txBody>
          <a:bodyPr lIns="0" tIns="0">
            <a:noAutofit/>
          </a:bodyPr>
          <a:lstStyle>
            <a:lvl1pPr marL="0" indent="0">
              <a:lnSpc>
                <a:spcPct val="100000"/>
              </a:lnSpc>
              <a:buFontTx/>
              <a:buNone/>
              <a:defRPr sz="2400"/>
            </a:lvl1pPr>
            <a:lvl2pPr marL="371475" indent="0">
              <a:buFontTx/>
              <a:buNone/>
              <a:defRPr/>
            </a:lvl2pPr>
            <a:lvl3pPr marL="742950" indent="0">
              <a:buFontTx/>
              <a:buNone/>
              <a:defRPr/>
            </a:lvl3pPr>
            <a:lvl4pPr marL="1114425" indent="0">
              <a:buFontTx/>
              <a:buNone/>
              <a:defRPr/>
            </a:lvl4pPr>
            <a:lvl5pPr marL="1485900" indent="0">
              <a:buFontTx/>
              <a:buNone/>
              <a:defRPr/>
            </a:lvl5pPr>
          </a:lstStyle>
          <a:p>
            <a:pPr lvl="0"/>
            <a:r>
              <a:rPr lang="en-AU"/>
              <a:t>Insert page heading (max two lines)</a:t>
            </a:r>
            <a:endParaRPr lang="en-US"/>
          </a:p>
        </p:txBody>
      </p:sp>
      <p:sp>
        <p:nvSpPr>
          <p:cNvPr id="8" name="TextBox 7">
            <a:extLst>
              <a:ext uri="{FF2B5EF4-FFF2-40B4-BE49-F238E27FC236}">
                <a16:creationId xmlns:a16="http://schemas.microsoft.com/office/drawing/2014/main" id="{5DFF713F-EA13-4666-BA1D-217CC6F6DDE0}"/>
              </a:ext>
            </a:extLst>
          </p:cNvPr>
          <p:cNvSpPr txBox="1"/>
          <p:nvPr/>
        </p:nvSpPr>
        <p:spPr>
          <a:xfrm>
            <a:off x="1489075" y="6470371"/>
            <a:ext cx="914400" cy="151091"/>
          </a:xfrm>
          <a:prstGeom prst="rect">
            <a:avLst/>
          </a:prstGeom>
          <a:noFill/>
        </p:spPr>
        <p:txBody>
          <a:bodyPr wrap="none" lIns="0" tIns="0" rIns="0" bIns="0" rtlCol="0" anchor="ctr">
            <a:noAutofit/>
          </a:bodyPr>
          <a:lstStyle/>
          <a:p>
            <a:pPr algn="r"/>
            <a:r>
              <a:rPr lang="en-AU" sz="1050">
                <a:latin typeface="Roboto Light" panose="02000000000000000000" pitchFamily="2" charset="0"/>
                <a:ea typeface="Roboto Light" panose="02000000000000000000" pitchFamily="2" charset="0"/>
              </a:rPr>
              <a:t>health outcomes</a:t>
            </a:r>
          </a:p>
        </p:txBody>
      </p:sp>
      <p:sp>
        <p:nvSpPr>
          <p:cNvPr id="10" name="Content Placeholder 2">
            <a:extLst>
              <a:ext uri="{FF2B5EF4-FFF2-40B4-BE49-F238E27FC236}">
                <a16:creationId xmlns:a16="http://schemas.microsoft.com/office/drawing/2014/main" id="{24FE6CE7-5284-4EEB-9586-59CB00774347}"/>
              </a:ext>
            </a:extLst>
          </p:cNvPr>
          <p:cNvSpPr>
            <a:spLocks noGrp="1"/>
          </p:cNvSpPr>
          <p:nvPr>
            <p:ph idx="11" hasCustomPrompt="1"/>
          </p:nvPr>
        </p:nvSpPr>
        <p:spPr>
          <a:xfrm>
            <a:off x="972543" y="1693088"/>
            <a:ext cx="8515548" cy="1663842"/>
          </a:xfrm>
          <a:prstGeom prst="rect">
            <a:avLst/>
          </a:prstGeom>
        </p:spPr>
        <p:txBody>
          <a:bodyPr lIns="0" tIns="0">
            <a:noAutofit/>
          </a:bodyPr>
          <a:lstStyle>
            <a:lvl1pPr marL="0" indent="0">
              <a:lnSpc>
                <a:spcPct val="100000"/>
              </a:lnSpc>
              <a:buSzPct val="100000"/>
              <a:buFontTx/>
              <a:buNone/>
              <a:defRPr sz="1400">
                <a:latin typeface="+mj-lt"/>
              </a:defRPr>
            </a:lvl1pPr>
            <a:lvl2pPr marL="371475" indent="0">
              <a:buFont typeface="+mj-lt"/>
              <a:buNone/>
              <a:defRPr sz="1200">
                <a:latin typeface="+mj-lt"/>
              </a:defRPr>
            </a:lvl2pPr>
            <a:lvl3pPr marL="742950" indent="0">
              <a:buFontTx/>
              <a:buNone/>
              <a:defRPr/>
            </a:lvl3pPr>
            <a:lvl4pPr marL="1114425" indent="0">
              <a:buFontTx/>
              <a:buNone/>
              <a:defRPr/>
            </a:lvl4pPr>
            <a:lvl5pPr marL="1485900" indent="0">
              <a:buFontTx/>
              <a:buNone/>
              <a:defRPr/>
            </a:lvl5pPr>
          </a:lstStyle>
          <a:p>
            <a:pPr lvl="0"/>
            <a:r>
              <a:rPr lang="en-AU"/>
              <a:t>Insert content here</a:t>
            </a:r>
          </a:p>
        </p:txBody>
      </p:sp>
      <p:sp>
        <p:nvSpPr>
          <p:cNvPr id="12" name="Content Placeholder 2">
            <a:extLst>
              <a:ext uri="{FF2B5EF4-FFF2-40B4-BE49-F238E27FC236}">
                <a16:creationId xmlns:a16="http://schemas.microsoft.com/office/drawing/2014/main" id="{634D13D9-DD1F-4903-A378-FDC029DC0BEB}"/>
              </a:ext>
            </a:extLst>
          </p:cNvPr>
          <p:cNvSpPr>
            <a:spLocks noGrp="1"/>
          </p:cNvSpPr>
          <p:nvPr>
            <p:ph idx="10" hasCustomPrompt="1"/>
          </p:nvPr>
        </p:nvSpPr>
        <p:spPr>
          <a:xfrm>
            <a:off x="972543" y="4407408"/>
            <a:ext cx="8515548" cy="1613980"/>
          </a:xfrm>
          <a:prstGeom prst="rect">
            <a:avLst/>
          </a:prstGeom>
        </p:spPr>
        <p:txBody>
          <a:bodyPr lIns="0" tIns="0">
            <a:noAutofit/>
          </a:bodyPr>
          <a:lstStyle>
            <a:lvl1pPr marL="0" indent="0">
              <a:lnSpc>
                <a:spcPct val="100000"/>
              </a:lnSpc>
              <a:buSzPct val="100000"/>
              <a:buFontTx/>
              <a:buNone/>
              <a:defRPr sz="1400">
                <a:latin typeface="+mj-lt"/>
              </a:defRPr>
            </a:lvl1pPr>
            <a:lvl2pPr marL="371475" indent="0">
              <a:buFont typeface="+mj-lt"/>
              <a:buNone/>
              <a:defRPr sz="1200">
                <a:latin typeface="+mj-lt"/>
              </a:defRPr>
            </a:lvl2pPr>
            <a:lvl3pPr marL="742950" indent="0">
              <a:buFontTx/>
              <a:buNone/>
              <a:defRPr/>
            </a:lvl3pPr>
            <a:lvl4pPr marL="1114425" indent="0">
              <a:buFontTx/>
              <a:buNone/>
              <a:defRPr/>
            </a:lvl4pPr>
            <a:lvl5pPr marL="1485900" indent="0">
              <a:buFontTx/>
              <a:buNone/>
              <a:defRPr/>
            </a:lvl5pPr>
          </a:lstStyle>
          <a:p>
            <a:pPr lvl="0"/>
            <a:r>
              <a:rPr lang="en-AU"/>
              <a:t>Insert content here</a:t>
            </a:r>
          </a:p>
        </p:txBody>
      </p:sp>
    </p:spTree>
    <p:extLst>
      <p:ext uri="{BB962C8B-B14F-4D97-AF65-F5344CB8AC3E}">
        <p14:creationId xmlns:p14="http://schemas.microsoft.com/office/powerpoint/2010/main" val="3523882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Process diagram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F0098B5-D905-4364-9464-281432FCB6C7}"/>
              </a:ext>
            </a:extLst>
          </p:cNvPr>
          <p:cNvSpPr/>
          <p:nvPr/>
        </p:nvSpPr>
        <p:spPr>
          <a:xfrm>
            <a:off x="601712" y="4348071"/>
            <a:ext cx="9304285" cy="250993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63"/>
          </a:p>
        </p:txBody>
      </p:sp>
      <p:sp>
        <p:nvSpPr>
          <p:cNvPr id="9" name="Rectangle 8">
            <a:extLst>
              <a:ext uri="{FF2B5EF4-FFF2-40B4-BE49-F238E27FC236}">
                <a16:creationId xmlns:a16="http://schemas.microsoft.com/office/drawing/2014/main" id="{450A2AA3-20AC-4A6B-B965-571AF7E4BC4D}"/>
              </a:ext>
            </a:extLst>
          </p:cNvPr>
          <p:cNvSpPr/>
          <p:nvPr/>
        </p:nvSpPr>
        <p:spPr>
          <a:xfrm>
            <a:off x="601712" y="-6"/>
            <a:ext cx="9304285" cy="32050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63"/>
          </a:p>
        </p:txBody>
      </p:sp>
      <p:sp>
        <p:nvSpPr>
          <p:cNvPr id="6" name="Freeform 5">
            <a:extLst>
              <a:ext uri="{FF2B5EF4-FFF2-40B4-BE49-F238E27FC236}">
                <a16:creationId xmlns:a16="http://schemas.microsoft.com/office/drawing/2014/main" id="{89144B2B-0860-4CC2-AFA2-2DDEF6E1EC46}"/>
              </a:ext>
            </a:extLst>
          </p:cNvPr>
          <p:cNvSpPr>
            <a:spLocks noEditPoints="1"/>
          </p:cNvSpPr>
          <p:nvPr/>
        </p:nvSpPr>
        <p:spPr bwMode="auto">
          <a:xfrm>
            <a:off x="981075" y="6197254"/>
            <a:ext cx="1422400" cy="360045"/>
          </a:xfrm>
          <a:custGeom>
            <a:avLst/>
            <a:gdLst>
              <a:gd name="T0" fmla="*/ 2610 w 7680"/>
              <a:gd name="T1" fmla="*/ 614 h 1944"/>
              <a:gd name="T2" fmla="*/ 2335 w 7680"/>
              <a:gd name="T3" fmla="*/ 1134 h 1944"/>
              <a:gd name="T4" fmla="*/ 2792 w 7680"/>
              <a:gd name="T5" fmla="*/ 1241 h 1944"/>
              <a:gd name="T6" fmla="*/ 2938 w 7680"/>
              <a:gd name="T7" fmla="*/ 627 h 1944"/>
              <a:gd name="T8" fmla="*/ 2445 w 7680"/>
              <a:gd name="T9" fmla="*/ 916 h 1944"/>
              <a:gd name="T10" fmla="*/ 2747 w 7680"/>
              <a:gd name="T11" fmla="*/ 791 h 1944"/>
              <a:gd name="T12" fmla="*/ 2704 w 7680"/>
              <a:gd name="T13" fmla="*/ 1165 h 1944"/>
              <a:gd name="T14" fmla="*/ 3472 w 7680"/>
              <a:gd name="T15" fmla="*/ 1126 h 1944"/>
              <a:gd name="T16" fmla="*/ 3196 w 7680"/>
              <a:gd name="T17" fmla="*/ 1047 h 1944"/>
              <a:gd name="T18" fmla="*/ 3074 w 7680"/>
              <a:gd name="T19" fmla="*/ 1145 h 1944"/>
              <a:gd name="T20" fmla="*/ 3502 w 7680"/>
              <a:gd name="T21" fmla="*/ 1238 h 1944"/>
              <a:gd name="T22" fmla="*/ 4441 w 7680"/>
              <a:gd name="T23" fmla="*/ 1176 h 1944"/>
              <a:gd name="T24" fmla="*/ 4244 w 7680"/>
              <a:gd name="T25" fmla="*/ 648 h 1944"/>
              <a:gd name="T26" fmla="*/ 3778 w 7680"/>
              <a:gd name="T27" fmla="*/ 818 h 1944"/>
              <a:gd name="T28" fmla="*/ 3974 w 7680"/>
              <a:gd name="T29" fmla="*/ 761 h 1944"/>
              <a:gd name="T30" fmla="*/ 4223 w 7680"/>
              <a:gd name="T31" fmla="*/ 854 h 1944"/>
              <a:gd name="T32" fmla="*/ 3773 w 7680"/>
              <a:gd name="T33" fmla="*/ 1018 h 1944"/>
              <a:gd name="T34" fmla="*/ 4019 w 7680"/>
              <a:gd name="T35" fmla="*/ 1311 h 1944"/>
              <a:gd name="T36" fmla="*/ 4388 w 7680"/>
              <a:gd name="T37" fmla="*/ 1298 h 1944"/>
              <a:gd name="T38" fmla="*/ 4187 w 7680"/>
              <a:gd name="T39" fmla="*/ 1119 h 1944"/>
              <a:gd name="T40" fmla="*/ 3898 w 7680"/>
              <a:gd name="T41" fmla="*/ 1114 h 1944"/>
              <a:gd name="T42" fmla="*/ 4223 w 7680"/>
              <a:gd name="T43" fmla="*/ 1012 h 1944"/>
              <a:gd name="T44" fmla="*/ 4553 w 7680"/>
              <a:gd name="T45" fmla="*/ 627 h 1944"/>
              <a:gd name="T46" fmla="*/ 4694 w 7680"/>
              <a:gd name="T47" fmla="*/ 871 h 1944"/>
              <a:gd name="T48" fmla="*/ 4974 w 7680"/>
              <a:gd name="T49" fmla="*/ 801 h 1944"/>
              <a:gd name="T50" fmla="*/ 5154 w 7680"/>
              <a:gd name="T51" fmla="*/ 928 h 1944"/>
              <a:gd name="T52" fmla="*/ 5470 w 7680"/>
              <a:gd name="T53" fmla="*/ 624 h 1944"/>
              <a:gd name="T54" fmla="*/ 5206 w 7680"/>
              <a:gd name="T55" fmla="*/ 627 h 1944"/>
              <a:gd name="T56" fmla="*/ 5335 w 7680"/>
              <a:gd name="T57" fmla="*/ 1196 h 1944"/>
              <a:gd name="T58" fmla="*/ 5618 w 7680"/>
              <a:gd name="T59" fmla="*/ 1171 h 1944"/>
              <a:gd name="T60" fmla="*/ 5618 w 7680"/>
              <a:gd name="T61" fmla="*/ 744 h 1944"/>
              <a:gd name="T62" fmla="*/ 6438 w 7680"/>
              <a:gd name="T63" fmla="*/ 1069 h 1944"/>
              <a:gd name="T64" fmla="*/ 6153 w 7680"/>
              <a:gd name="T65" fmla="*/ 1109 h 1944"/>
              <a:gd name="T66" fmla="*/ 5982 w 7680"/>
              <a:gd name="T67" fmla="*/ 1028 h 1944"/>
              <a:gd name="T68" fmla="*/ 6405 w 7680"/>
              <a:gd name="T69" fmla="*/ 1265 h 1944"/>
              <a:gd name="T70" fmla="*/ 6587 w 7680"/>
              <a:gd name="T71" fmla="*/ 629 h 1944"/>
              <a:gd name="T72" fmla="*/ 7159 w 7680"/>
              <a:gd name="T73" fmla="*/ 645 h 1944"/>
              <a:gd name="T74" fmla="*/ 6845 w 7680"/>
              <a:gd name="T75" fmla="*/ 631 h 1944"/>
              <a:gd name="T76" fmla="*/ 6859 w 7680"/>
              <a:gd name="T77" fmla="*/ 925 h 1944"/>
              <a:gd name="T78" fmla="*/ 7074 w 7680"/>
              <a:gd name="T79" fmla="*/ 767 h 1944"/>
              <a:gd name="T80" fmla="*/ 7271 w 7680"/>
              <a:gd name="T81" fmla="*/ 925 h 1944"/>
              <a:gd name="T82" fmla="*/ 7505 w 7680"/>
              <a:gd name="T83" fmla="*/ 789 h 1944"/>
              <a:gd name="T84" fmla="*/ 7680 w 7680"/>
              <a:gd name="T85" fmla="*/ 883 h 1944"/>
              <a:gd name="T86" fmla="*/ 5732 w 7680"/>
              <a:gd name="T87" fmla="*/ 631 h 1944"/>
              <a:gd name="T88" fmla="*/ 5804 w 7680"/>
              <a:gd name="T89" fmla="*/ 368 h 1944"/>
              <a:gd name="T90" fmla="*/ 5864 w 7680"/>
              <a:gd name="T91" fmla="*/ 514 h 1944"/>
              <a:gd name="T92" fmla="*/ 679 w 7680"/>
              <a:gd name="T93" fmla="*/ 43 h 1944"/>
              <a:gd name="T94" fmla="*/ 19 w 7680"/>
              <a:gd name="T95" fmla="*/ 772 h 1944"/>
              <a:gd name="T96" fmla="*/ 316 w 7680"/>
              <a:gd name="T97" fmla="*/ 1684 h 1944"/>
              <a:gd name="T98" fmla="*/ 1254 w 7680"/>
              <a:gd name="T99" fmla="*/ 1892 h 1944"/>
              <a:gd name="T100" fmla="*/ 1916 w 7680"/>
              <a:gd name="T101" fmla="*/ 1162 h 1944"/>
              <a:gd name="T102" fmla="*/ 1618 w 7680"/>
              <a:gd name="T103" fmla="*/ 251 h 1944"/>
              <a:gd name="T104" fmla="*/ 631 w 7680"/>
              <a:gd name="T105" fmla="*/ 1103 h 1944"/>
              <a:gd name="T106" fmla="*/ 1002 w 7680"/>
              <a:gd name="T107" fmla="*/ 607 h 1944"/>
              <a:gd name="T108" fmla="*/ 1270 w 7680"/>
              <a:gd name="T109" fmla="*/ 1167 h 1944"/>
              <a:gd name="T110" fmla="*/ 1438 w 7680"/>
              <a:gd name="T111" fmla="*/ 1619 h 1944"/>
              <a:gd name="T112" fmla="*/ 1278 w 7680"/>
              <a:gd name="T113" fmla="*/ 1351 h 1944"/>
              <a:gd name="T114" fmla="*/ 1588 w 7680"/>
              <a:gd name="T115" fmla="*/ 1337 h 1944"/>
              <a:gd name="T116" fmla="*/ 1457 w 7680"/>
              <a:gd name="T117" fmla="*/ 1619 h 1944"/>
              <a:gd name="T118" fmla="*/ 1703 w 7680"/>
              <a:gd name="T119" fmla="*/ 1836 h 1944"/>
              <a:gd name="T120" fmla="*/ 1890 w 7680"/>
              <a:gd name="T121" fmla="*/ 1923 h 1944"/>
              <a:gd name="T122" fmla="*/ 1880 w 7680"/>
              <a:gd name="T123" fmla="*/ 1717 h 1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80" h="1944">
                <a:moveTo>
                  <a:pt x="2938" y="627"/>
                </a:moveTo>
                <a:lnTo>
                  <a:pt x="2826" y="627"/>
                </a:lnTo>
                <a:lnTo>
                  <a:pt x="2826" y="627"/>
                </a:lnTo>
                <a:lnTo>
                  <a:pt x="2819" y="627"/>
                </a:lnTo>
                <a:lnTo>
                  <a:pt x="2818" y="629"/>
                </a:lnTo>
                <a:lnTo>
                  <a:pt x="2816" y="633"/>
                </a:lnTo>
                <a:lnTo>
                  <a:pt x="2804" y="681"/>
                </a:lnTo>
                <a:lnTo>
                  <a:pt x="2804" y="681"/>
                </a:lnTo>
                <a:lnTo>
                  <a:pt x="2801" y="684"/>
                </a:lnTo>
                <a:lnTo>
                  <a:pt x="2797" y="686"/>
                </a:lnTo>
                <a:lnTo>
                  <a:pt x="2794" y="686"/>
                </a:lnTo>
                <a:lnTo>
                  <a:pt x="2789" y="682"/>
                </a:lnTo>
                <a:lnTo>
                  <a:pt x="2789" y="682"/>
                </a:lnTo>
                <a:lnTo>
                  <a:pt x="2773" y="669"/>
                </a:lnTo>
                <a:lnTo>
                  <a:pt x="2756" y="657"/>
                </a:lnTo>
                <a:lnTo>
                  <a:pt x="2734" y="645"/>
                </a:lnTo>
                <a:lnTo>
                  <a:pt x="2711" y="634"/>
                </a:lnTo>
                <a:lnTo>
                  <a:pt x="2687" y="626"/>
                </a:lnTo>
                <a:lnTo>
                  <a:pt x="2661" y="619"/>
                </a:lnTo>
                <a:lnTo>
                  <a:pt x="2636" y="615"/>
                </a:lnTo>
                <a:lnTo>
                  <a:pt x="2610" y="614"/>
                </a:lnTo>
                <a:lnTo>
                  <a:pt x="2610" y="614"/>
                </a:lnTo>
                <a:lnTo>
                  <a:pt x="2575" y="615"/>
                </a:lnTo>
                <a:lnTo>
                  <a:pt x="2541" y="620"/>
                </a:lnTo>
                <a:lnTo>
                  <a:pt x="2510" y="627"/>
                </a:lnTo>
                <a:lnTo>
                  <a:pt x="2481" y="639"/>
                </a:lnTo>
                <a:lnTo>
                  <a:pt x="2453" y="653"/>
                </a:lnTo>
                <a:lnTo>
                  <a:pt x="2428" y="669"/>
                </a:lnTo>
                <a:lnTo>
                  <a:pt x="2404" y="688"/>
                </a:lnTo>
                <a:lnTo>
                  <a:pt x="2383" y="710"/>
                </a:lnTo>
                <a:lnTo>
                  <a:pt x="2364" y="734"/>
                </a:lnTo>
                <a:lnTo>
                  <a:pt x="2347" y="761"/>
                </a:lnTo>
                <a:lnTo>
                  <a:pt x="2333" y="789"/>
                </a:lnTo>
                <a:lnTo>
                  <a:pt x="2321" y="820"/>
                </a:lnTo>
                <a:lnTo>
                  <a:pt x="2311" y="853"/>
                </a:lnTo>
                <a:lnTo>
                  <a:pt x="2304" y="889"/>
                </a:lnTo>
                <a:lnTo>
                  <a:pt x="2301" y="925"/>
                </a:lnTo>
                <a:lnTo>
                  <a:pt x="2299" y="963"/>
                </a:lnTo>
                <a:lnTo>
                  <a:pt x="2299" y="963"/>
                </a:lnTo>
                <a:lnTo>
                  <a:pt x="2301" y="1000"/>
                </a:lnTo>
                <a:lnTo>
                  <a:pt x="2306" y="1036"/>
                </a:lnTo>
                <a:lnTo>
                  <a:pt x="2313" y="1071"/>
                </a:lnTo>
                <a:lnTo>
                  <a:pt x="2321" y="1103"/>
                </a:lnTo>
                <a:lnTo>
                  <a:pt x="2335" y="1134"/>
                </a:lnTo>
                <a:lnTo>
                  <a:pt x="2349" y="1164"/>
                </a:lnTo>
                <a:lnTo>
                  <a:pt x="2366" y="1189"/>
                </a:lnTo>
                <a:lnTo>
                  <a:pt x="2385" y="1215"/>
                </a:lnTo>
                <a:lnTo>
                  <a:pt x="2407" y="1236"/>
                </a:lnTo>
                <a:lnTo>
                  <a:pt x="2431" y="1255"/>
                </a:lnTo>
                <a:lnTo>
                  <a:pt x="2455" y="1272"/>
                </a:lnTo>
                <a:lnTo>
                  <a:pt x="2483" y="1286"/>
                </a:lnTo>
                <a:lnTo>
                  <a:pt x="2512" y="1296"/>
                </a:lnTo>
                <a:lnTo>
                  <a:pt x="2543" y="1305"/>
                </a:lnTo>
                <a:lnTo>
                  <a:pt x="2575" y="1310"/>
                </a:lnTo>
                <a:lnTo>
                  <a:pt x="2610" y="1311"/>
                </a:lnTo>
                <a:lnTo>
                  <a:pt x="2610" y="1311"/>
                </a:lnTo>
                <a:lnTo>
                  <a:pt x="2630" y="1310"/>
                </a:lnTo>
                <a:lnTo>
                  <a:pt x="2649" y="1308"/>
                </a:lnTo>
                <a:lnTo>
                  <a:pt x="2667" y="1305"/>
                </a:lnTo>
                <a:lnTo>
                  <a:pt x="2684" y="1301"/>
                </a:lnTo>
                <a:lnTo>
                  <a:pt x="2715" y="1291"/>
                </a:lnTo>
                <a:lnTo>
                  <a:pt x="2740" y="1279"/>
                </a:lnTo>
                <a:lnTo>
                  <a:pt x="2761" y="1267"/>
                </a:lnTo>
                <a:lnTo>
                  <a:pt x="2776" y="1255"/>
                </a:lnTo>
                <a:lnTo>
                  <a:pt x="2792" y="1241"/>
                </a:lnTo>
                <a:lnTo>
                  <a:pt x="2792" y="1241"/>
                </a:lnTo>
                <a:lnTo>
                  <a:pt x="2795" y="1239"/>
                </a:lnTo>
                <a:lnTo>
                  <a:pt x="2799" y="1239"/>
                </a:lnTo>
                <a:lnTo>
                  <a:pt x="2802" y="1243"/>
                </a:lnTo>
                <a:lnTo>
                  <a:pt x="2804" y="1244"/>
                </a:lnTo>
                <a:lnTo>
                  <a:pt x="2804" y="1554"/>
                </a:lnTo>
                <a:lnTo>
                  <a:pt x="2804" y="1554"/>
                </a:lnTo>
                <a:lnTo>
                  <a:pt x="2804" y="1557"/>
                </a:lnTo>
                <a:lnTo>
                  <a:pt x="2806" y="1559"/>
                </a:lnTo>
                <a:lnTo>
                  <a:pt x="2807" y="1561"/>
                </a:lnTo>
                <a:lnTo>
                  <a:pt x="2809" y="1561"/>
                </a:lnTo>
                <a:lnTo>
                  <a:pt x="2938" y="1561"/>
                </a:lnTo>
                <a:lnTo>
                  <a:pt x="2938" y="1561"/>
                </a:lnTo>
                <a:lnTo>
                  <a:pt x="2941" y="1561"/>
                </a:lnTo>
                <a:lnTo>
                  <a:pt x="2943" y="1559"/>
                </a:lnTo>
                <a:lnTo>
                  <a:pt x="2945" y="1557"/>
                </a:lnTo>
                <a:lnTo>
                  <a:pt x="2945" y="1554"/>
                </a:lnTo>
                <a:lnTo>
                  <a:pt x="2945" y="633"/>
                </a:lnTo>
                <a:lnTo>
                  <a:pt x="2945" y="633"/>
                </a:lnTo>
                <a:lnTo>
                  <a:pt x="2945" y="631"/>
                </a:lnTo>
                <a:lnTo>
                  <a:pt x="2943" y="629"/>
                </a:lnTo>
                <a:lnTo>
                  <a:pt x="2941" y="627"/>
                </a:lnTo>
                <a:lnTo>
                  <a:pt x="2938" y="627"/>
                </a:lnTo>
                <a:lnTo>
                  <a:pt x="2938" y="627"/>
                </a:lnTo>
                <a:close/>
                <a:moveTo>
                  <a:pt x="2629" y="1181"/>
                </a:moveTo>
                <a:lnTo>
                  <a:pt x="2629" y="1181"/>
                </a:lnTo>
                <a:lnTo>
                  <a:pt x="2608" y="1181"/>
                </a:lnTo>
                <a:lnTo>
                  <a:pt x="2587" y="1177"/>
                </a:lnTo>
                <a:lnTo>
                  <a:pt x="2567" y="1172"/>
                </a:lnTo>
                <a:lnTo>
                  <a:pt x="2550" y="1165"/>
                </a:lnTo>
                <a:lnTo>
                  <a:pt x="2533" y="1157"/>
                </a:lnTo>
                <a:lnTo>
                  <a:pt x="2517" y="1146"/>
                </a:lnTo>
                <a:lnTo>
                  <a:pt x="2503" y="1134"/>
                </a:lnTo>
                <a:lnTo>
                  <a:pt x="2491" y="1121"/>
                </a:lnTo>
                <a:lnTo>
                  <a:pt x="2479" y="1105"/>
                </a:lnTo>
                <a:lnTo>
                  <a:pt x="2471" y="1088"/>
                </a:lnTo>
                <a:lnTo>
                  <a:pt x="2462" y="1071"/>
                </a:lnTo>
                <a:lnTo>
                  <a:pt x="2455" y="1050"/>
                </a:lnTo>
                <a:lnTo>
                  <a:pt x="2450" y="1030"/>
                </a:lnTo>
                <a:lnTo>
                  <a:pt x="2445" y="1009"/>
                </a:lnTo>
                <a:lnTo>
                  <a:pt x="2443" y="987"/>
                </a:lnTo>
                <a:lnTo>
                  <a:pt x="2443" y="963"/>
                </a:lnTo>
                <a:lnTo>
                  <a:pt x="2443" y="963"/>
                </a:lnTo>
                <a:lnTo>
                  <a:pt x="2443" y="938"/>
                </a:lnTo>
                <a:lnTo>
                  <a:pt x="2445" y="916"/>
                </a:lnTo>
                <a:lnTo>
                  <a:pt x="2450" y="894"/>
                </a:lnTo>
                <a:lnTo>
                  <a:pt x="2455" y="873"/>
                </a:lnTo>
                <a:lnTo>
                  <a:pt x="2462" y="854"/>
                </a:lnTo>
                <a:lnTo>
                  <a:pt x="2471" y="835"/>
                </a:lnTo>
                <a:lnTo>
                  <a:pt x="2479" y="820"/>
                </a:lnTo>
                <a:lnTo>
                  <a:pt x="2491" y="804"/>
                </a:lnTo>
                <a:lnTo>
                  <a:pt x="2503" y="791"/>
                </a:lnTo>
                <a:lnTo>
                  <a:pt x="2517" y="777"/>
                </a:lnTo>
                <a:lnTo>
                  <a:pt x="2533" y="767"/>
                </a:lnTo>
                <a:lnTo>
                  <a:pt x="2550" y="758"/>
                </a:lnTo>
                <a:lnTo>
                  <a:pt x="2567" y="751"/>
                </a:lnTo>
                <a:lnTo>
                  <a:pt x="2587" y="746"/>
                </a:lnTo>
                <a:lnTo>
                  <a:pt x="2608" y="743"/>
                </a:lnTo>
                <a:lnTo>
                  <a:pt x="2629" y="743"/>
                </a:lnTo>
                <a:lnTo>
                  <a:pt x="2629" y="743"/>
                </a:lnTo>
                <a:lnTo>
                  <a:pt x="2649" y="743"/>
                </a:lnTo>
                <a:lnTo>
                  <a:pt x="2670" y="746"/>
                </a:lnTo>
                <a:lnTo>
                  <a:pt x="2687" y="751"/>
                </a:lnTo>
                <a:lnTo>
                  <a:pt x="2704" y="758"/>
                </a:lnTo>
                <a:lnTo>
                  <a:pt x="2720" y="767"/>
                </a:lnTo>
                <a:lnTo>
                  <a:pt x="2734" y="777"/>
                </a:lnTo>
                <a:lnTo>
                  <a:pt x="2747" y="791"/>
                </a:lnTo>
                <a:lnTo>
                  <a:pt x="2759" y="804"/>
                </a:lnTo>
                <a:lnTo>
                  <a:pt x="2770" y="820"/>
                </a:lnTo>
                <a:lnTo>
                  <a:pt x="2778" y="835"/>
                </a:lnTo>
                <a:lnTo>
                  <a:pt x="2785" y="854"/>
                </a:lnTo>
                <a:lnTo>
                  <a:pt x="2792" y="873"/>
                </a:lnTo>
                <a:lnTo>
                  <a:pt x="2797" y="894"/>
                </a:lnTo>
                <a:lnTo>
                  <a:pt x="2801" y="916"/>
                </a:lnTo>
                <a:lnTo>
                  <a:pt x="2802" y="938"/>
                </a:lnTo>
                <a:lnTo>
                  <a:pt x="2804" y="963"/>
                </a:lnTo>
                <a:lnTo>
                  <a:pt x="2804" y="963"/>
                </a:lnTo>
                <a:lnTo>
                  <a:pt x="2802" y="987"/>
                </a:lnTo>
                <a:lnTo>
                  <a:pt x="2801" y="1011"/>
                </a:lnTo>
                <a:lnTo>
                  <a:pt x="2797" y="1033"/>
                </a:lnTo>
                <a:lnTo>
                  <a:pt x="2792" y="1054"/>
                </a:lnTo>
                <a:lnTo>
                  <a:pt x="2785" y="1073"/>
                </a:lnTo>
                <a:lnTo>
                  <a:pt x="2778" y="1091"/>
                </a:lnTo>
                <a:lnTo>
                  <a:pt x="2770" y="1107"/>
                </a:lnTo>
                <a:lnTo>
                  <a:pt x="2759" y="1122"/>
                </a:lnTo>
                <a:lnTo>
                  <a:pt x="2747" y="1136"/>
                </a:lnTo>
                <a:lnTo>
                  <a:pt x="2734" y="1148"/>
                </a:lnTo>
                <a:lnTo>
                  <a:pt x="2720" y="1158"/>
                </a:lnTo>
                <a:lnTo>
                  <a:pt x="2704" y="1165"/>
                </a:lnTo>
                <a:lnTo>
                  <a:pt x="2687" y="1172"/>
                </a:lnTo>
                <a:lnTo>
                  <a:pt x="2670" y="1177"/>
                </a:lnTo>
                <a:lnTo>
                  <a:pt x="2649" y="1181"/>
                </a:lnTo>
                <a:lnTo>
                  <a:pt x="2629" y="1181"/>
                </a:lnTo>
                <a:lnTo>
                  <a:pt x="2629" y="1181"/>
                </a:lnTo>
                <a:close/>
                <a:moveTo>
                  <a:pt x="3648" y="627"/>
                </a:moveTo>
                <a:lnTo>
                  <a:pt x="3519" y="627"/>
                </a:lnTo>
                <a:lnTo>
                  <a:pt x="3519" y="627"/>
                </a:lnTo>
                <a:lnTo>
                  <a:pt x="3517" y="627"/>
                </a:lnTo>
                <a:lnTo>
                  <a:pt x="3515" y="629"/>
                </a:lnTo>
                <a:lnTo>
                  <a:pt x="3514" y="631"/>
                </a:lnTo>
                <a:lnTo>
                  <a:pt x="3514" y="633"/>
                </a:lnTo>
                <a:lnTo>
                  <a:pt x="3514" y="1004"/>
                </a:lnTo>
                <a:lnTo>
                  <a:pt x="3514" y="1004"/>
                </a:lnTo>
                <a:lnTo>
                  <a:pt x="3512" y="1021"/>
                </a:lnTo>
                <a:lnTo>
                  <a:pt x="3510" y="1038"/>
                </a:lnTo>
                <a:lnTo>
                  <a:pt x="3507" y="1054"/>
                </a:lnTo>
                <a:lnTo>
                  <a:pt x="3503" y="1069"/>
                </a:lnTo>
                <a:lnTo>
                  <a:pt x="3498" y="1085"/>
                </a:lnTo>
                <a:lnTo>
                  <a:pt x="3491" y="1100"/>
                </a:lnTo>
                <a:lnTo>
                  <a:pt x="3483" y="1114"/>
                </a:lnTo>
                <a:lnTo>
                  <a:pt x="3472" y="1126"/>
                </a:lnTo>
                <a:lnTo>
                  <a:pt x="3462" y="1138"/>
                </a:lnTo>
                <a:lnTo>
                  <a:pt x="3450" y="1150"/>
                </a:lnTo>
                <a:lnTo>
                  <a:pt x="3438" y="1158"/>
                </a:lnTo>
                <a:lnTo>
                  <a:pt x="3422" y="1167"/>
                </a:lnTo>
                <a:lnTo>
                  <a:pt x="3407" y="1172"/>
                </a:lnTo>
                <a:lnTo>
                  <a:pt x="3390" y="1177"/>
                </a:lnTo>
                <a:lnTo>
                  <a:pt x="3373" y="1181"/>
                </a:lnTo>
                <a:lnTo>
                  <a:pt x="3352" y="1181"/>
                </a:lnTo>
                <a:lnTo>
                  <a:pt x="3352" y="1181"/>
                </a:lnTo>
                <a:lnTo>
                  <a:pt x="3331" y="1181"/>
                </a:lnTo>
                <a:lnTo>
                  <a:pt x="3311" y="1177"/>
                </a:lnTo>
                <a:lnTo>
                  <a:pt x="3294" y="1172"/>
                </a:lnTo>
                <a:lnTo>
                  <a:pt x="3278" y="1165"/>
                </a:lnTo>
                <a:lnTo>
                  <a:pt x="3263" y="1157"/>
                </a:lnTo>
                <a:lnTo>
                  <a:pt x="3249" y="1146"/>
                </a:lnTo>
                <a:lnTo>
                  <a:pt x="3237" y="1136"/>
                </a:lnTo>
                <a:lnTo>
                  <a:pt x="3227" y="1122"/>
                </a:lnTo>
                <a:lnTo>
                  <a:pt x="3218" y="1109"/>
                </a:lnTo>
                <a:lnTo>
                  <a:pt x="3211" y="1095"/>
                </a:lnTo>
                <a:lnTo>
                  <a:pt x="3204" y="1079"/>
                </a:lnTo>
                <a:lnTo>
                  <a:pt x="3199" y="1064"/>
                </a:lnTo>
                <a:lnTo>
                  <a:pt x="3196" y="1047"/>
                </a:lnTo>
                <a:lnTo>
                  <a:pt x="3192" y="1031"/>
                </a:lnTo>
                <a:lnTo>
                  <a:pt x="3191" y="1014"/>
                </a:lnTo>
                <a:lnTo>
                  <a:pt x="3191" y="997"/>
                </a:lnTo>
                <a:lnTo>
                  <a:pt x="3191" y="633"/>
                </a:lnTo>
                <a:lnTo>
                  <a:pt x="3191" y="633"/>
                </a:lnTo>
                <a:lnTo>
                  <a:pt x="3191" y="631"/>
                </a:lnTo>
                <a:lnTo>
                  <a:pt x="3189" y="629"/>
                </a:lnTo>
                <a:lnTo>
                  <a:pt x="3187" y="627"/>
                </a:lnTo>
                <a:lnTo>
                  <a:pt x="3184" y="627"/>
                </a:lnTo>
                <a:lnTo>
                  <a:pt x="3055" y="627"/>
                </a:lnTo>
                <a:lnTo>
                  <a:pt x="3055" y="627"/>
                </a:lnTo>
                <a:lnTo>
                  <a:pt x="3051" y="627"/>
                </a:lnTo>
                <a:lnTo>
                  <a:pt x="3050" y="629"/>
                </a:lnTo>
                <a:lnTo>
                  <a:pt x="3048" y="631"/>
                </a:lnTo>
                <a:lnTo>
                  <a:pt x="3048" y="633"/>
                </a:lnTo>
                <a:lnTo>
                  <a:pt x="3048" y="997"/>
                </a:lnTo>
                <a:lnTo>
                  <a:pt x="3048" y="997"/>
                </a:lnTo>
                <a:lnTo>
                  <a:pt x="3048" y="1028"/>
                </a:lnTo>
                <a:lnTo>
                  <a:pt x="3051" y="1059"/>
                </a:lnTo>
                <a:lnTo>
                  <a:pt x="3057" y="1088"/>
                </a:lnTo>
                <a:lnTo>
                  <a:pt x="3063" y="1117"/>
                </a:lnTo>
                <a:lnTo>
                  <a:pt x="3074" y="1145"/>
                </a:lnTo>
                <a:lnTo>
                  <a:pt x="3084" y="1171"/>
                </a:lnTo>
                <a:lnTo>
                  <a:pt x="3099" y="1195"/>
                </a:lnTo>
                <a:lnTo>
                  <a:pt x="3115" y="1217"/>
                </a:lnTo>
                <a:lnTo>
                  <a:pt x="3134" y="1238"/>
                </a:lnTo>
                <a:lnTo>
                  <a:pt x="3154" y="1256"/>
                </a:lnTo>
                <a:lnTo>
                  <a:pt x="3177" y="1272"/>
                </a:lnTo>
                <a:lnTo>
                  <a:pt x="3204" y="1286"/>
                </a:lnTo>
                <a:lnTo>
                  <a:pt x="3232" y="1296"/>
                </a:lnTo>
                <a:lnTo>
                  <a:pt x="3263" y="1305"/>
                </a:lnTo>
                <a:lnTo>
                  <a:pt x="3297" y="1310"/>
                </a:lnTo>
                <a:lnTo>
                  <a:pt x="3333" y="1311"/>
                </a:lnTo>
                <a:lnTo>
                  <a:pt x="3333" y="1311"/>
                </a:lnTo>
                <a:lnTo>
                  <a:pt x="3359" y="1310"/>
                </a:lnTo>
                <a:lnTo>
                  <a:pt x="3385" y="1305"/>
                </a:lnTo>
                <a:lnTo>
                  <a:pt x="3409" y="1298"/>
                </a:lnTo>
                <a:lnTo>
                  <a:pt x="3433" y="1289"/>
                </a:lnTo>
                <a:lnTo>
                  <a:pt x="3453" y="1279"/>
                </a:lnTo>
                <a:lnTo>
                  <a:pt x="3471" y="1265"/>
                </a:lnTo>
                <a:lnTo>
                  <a:pt x="3486" y="1253"/>
                </a:lnTo>
                <a:lnTo>
                  <a:pt x="3498" y="1239"/>
                </a:lnTo>
                <a:lnTo>
                  <a:pt x="3498" y="1239"/>
                </a:lnTo>
                <a:lnTo>
                  <a:pt x="3502" y="1238"/>
                </a:lnTo>
                <a:lnTo>
                  <a:pt x="3507" y="1236"/>
                </a:lnTo>
                <a:lnTo>
                  <a:pt x="3510" y="1238"/>
                </a:lnTo>
                <a:lnTo>
                  <a:pt x="3514" y="1241"/>
                </a:lnTo>
                <a:lnTo>
                  <a:pt x="3526" y="1291"/>
                </a:lnTo>
                <a:lnTo>
                  <a:pt x="3526" y="1291"/>
                </a:lnTo>
                <a:lnTo>
                  <a:pt x="3529" y="1296"/>
                </a:lnTo>
                <a:lnTo>
                  <a:pt x="3532" y="1298"/>
                </a:lnTo>
                <a:lnTo>
                  <a:pt x="3536" y="1298"/>
                </a:lnTo>
                <a:lnTo>
                  <a:pt x="3648" y="1298"/>
                </a:lnTo>
                <a:lnTo>
                  <a:pt x="3648" y="1298"/>
                </a:lnTo>
                <a:lnTo>
                  <a:pt x="3651" y="1298"/>
                </a:lnTo>
                <a:lnTo>
                  <a:pt x="3653" y="1296"/>
                </a:lnTo>
                <a:lnTo>
                  <a:pt x="3654" y="1294"/>
                </a:lnTo>
                <a:lnTo>
                  <a:pt x="3654" y="1291"/>
                </a:lnTo>
                <a:lnTo>
                  <a:pt x="3654" y="633"/>
                </a:lnTo>
                <a:lnTo>
                  <a:pt x="3654" y="633"/>
                </a:lnTo>
                <a:lnTo>
                  <a:pt x="3654" y="631"/>
                </a:lnTo>
                <a:lnTo>
                  <a:pt x="3653" y="629"/>
                </a:lnTo>
                <a:lnTo>
                  <a:pt x="3651" y="627"/>
                </a:lnTo>
                <a:lnTo>
                  <a:pt x="3648" y="627"/>
                </a:lnTo>
                <a:lnTo>
                  <a:pt x="3648" y="627"/>
                </a:lnTo>
                <a:close/>
                <a:moveTo>
                  <a:pt x="4441" y="1176"/>
                </a:moveTo>
                <a:lnTo>
                  <a:pt x="4412" y="1176"/>
                </a:lnTo>
                <a:lnTo>
                  <a:pt x="4412" y="1176"/>
                </a:lnTo>
                <a:lnTo>
                  <a:pt x="4402" y="1176"/>
                </a:lnTo>
                <a:lnTo>
                  <a:pt x="4393" y="1172"/>
                </a:lnTo>
                <a:lnTo>
                  <a:pt x="4385" y="1169"/>
                </a:lnTo>
                <a:lnTo>
                  <a:pt x="4378" y="1164"/>
                </a:lnTo>
                <a:lnTo>
                  <a:pt x="4373" y="1157"/>
                </a:lnTo>
                <a:lnTo>
                  <a:pt x="4369" y="1148"/>
                </a:lnTo>
                <a:lnTo>
                  <a:pt x="4367" y="1141"/>
                </a:lnTo>
                <a:lnTo>
                  <a:pt x="4366" y="1133"/>
                </a:lnTo>
                <a:lnTo>
                  <a:pt x="4366" y="859"/>
                </a:lnTo>
                <a:lnTo>
                  <a:pt x="4366" y="859"/>
                </a:lnTo>
                <a:lnTo>
                  <a:pt x="4364" y="830"/>
                </a:lnTo>
                <a:lnTo>
                  <a:pt x="4361" y="803"/>
                </a:lnTo>
                <a:lnTo>
                  <a:pt x="4354" y="777"/>
                </a:lnTo>
                <a:lnTo>
                  <a:pt x="4345" y="753"/>
                </a:lnTo>
                <a:lnTo>
                  <a:pt x="4333" y="731"/>
                </a:lnTo>
                <a:lnTo>
                  <a:pt x="4319" y="710"/>
                </a:lnTo>
                <a:lnTo>
                  <a:pt x="4304" y="691"/>
                </a:lnTo>
                <a:lnTo>
                  <a:pt x="4287" y="676"/>
                </a:lnTo>
                <a:lnTo>
                  <a:pt x="4266" y="660"/>
                </a:lnTo>
                <a:lnTo>
                  <a:pt x="4244" y="648"/>
                </a:lnTo>
                <a:lnTo>
                  <a:pt x="4218" y="638"/>
                </a:lnTo>
                <a:lnTo>
                  <a:pt x="4192" y="629"/>
                </a:lnTo>
                <a:lnTo>
                  <a:pt x="4165" y="622"/>
                </a:lnTo>
                <a:lnTo>
                  <a:pt x="4134" y="617"/>
                </a:lnTo>
                <a:lnTo>
                  <a:pt x="4103" y="614"/>
                </a:lnTo>
                <a:lnTo>
                  <a:pt x="4069" y="614"/>
                </a:lnTo>
                <a:lnTo>
                  <a:pt x="4069" y="614"/>
                </a:lnTo>
                <a:lnTo>
                  <a:pt x="4039" y="614"/>
                </a:lnTo>
                <a:lnTo>
                  <a:pt x="4012" y="617"/>
                </a:lnTo>
                <a:lnTo>
                  <a:pt x="3984" y="622"/>
                </a:lnTo>
                <a:lnTo>
                  <a:pt x="3959" y="627"/>
                </a:lnTo>
                <a:lnTo>
                  <a:pt x="3933" y="636"/>
                </a:lnTo>
                <a:lnTo>
                  <a:pt x="3909" y="646"/>
                </a:lnTo>
                <a:lnTo>
                  <a:pt x="3886" y="658"/>
                </a:lnTo>
                <a:lnTo>
                  <a:pt x="3866" y="672"/>
                </a:lnTo>
                <a:lnTo>
                  <a:pt x="3845" y="688"/>
                </a:lnTo>
                <a:lnTo>
                  <a:pt x="3828" y="705"/>
                </a:lnTo>
                <a:lnTo>
                  <a:pt x="3814" y="724"/>
                </a:lnTo>
                <a:lnTo>
                  <a:pt x="3800" y="744"/>
                </a:lnTo>
                <a:lnTo>
                  <a:pt x="3790" y="767"/>
                </a:lnTo>
                <a:lnTo>
                  <a:pt x="3783" y="792"/>
                </a:lnTo>
                <a:lnTo>
                  <a:pt x="3778" y="818"/>
                </a:lnTo>
                <a:lnTo>
                  <a:pt x="3776" y="847"/>
                </a:lnTo>
                <a:lnTo>
                  <a:pt x="3776" y="847"/>
                </a:lnTo>
                <a:lnTo>
                  <a:pt x="3778" y="849"/>
                </a:lnTo>
                <a:lnTo>
                  <a:pt x="3778" y="851"/>
                </a:lnTo>
                <a:lnTo>
                  <a:pt x="3782" y="853"/>
                </a:lnTo>
                <a:lnTo>
                  <a:pt x="3783" y="854"/>
                </a:lnTo>
                <a:lnTo>
                  <a:pt x="3912" y="854"/>
                </a:lnTo>
                <a:lnTo>
                  <a:pt x="3912" y="854"/>
                </a:lnTo>
                <a:lnTo>
                  <a:pt x="3916" y="853"/>
                </a:lnTo>
                <a:lnTo>
                  <a:pt x="3917" y="851"/>
                </a:lnTo>
                <a:lnTo>
                  <a:pt x="3919" y="849"/>
                </a:lnTo>
                <a:lnTo>
                  <a:pt x="3919" y="847"/>
                </a:lnTo>
                <a:lnTo>
                  <a:pt x="3919" y="847"/>
                </a:lnTo>
                <a:lnTo>
                  <a:pt x="3921" y="827"/>
                </a:lnTo>
                <a:lnTo>
                  <a:pt x="3924" y="816"/>
                </a:lnTo>
                <a:lnTo>
                  <a:pt x="3928" y="808"/>
                </a:lnTo>
                <a:lnTo>
                  <a:pt x="3933" y="798"/>
                </a:lnTo>
                <a:lnTo>
                  <a:pt x="3938" y="789"/>
                </a:lnTo>
                <a:lnTo>
                  <a:pt x="3945" y="782"/>
                </a:lnTo>
                <a:lnTo>
                  <a:pt x="3953" y="773"/>
                </a:lnTo>
                <a:lnTo>
                  <a:pt x="3964" y="767"/>
                </a:lnTo>
                <a:lnTo>
                  <a:pt x="3974" y="761"/>
                </a:lnTo>
                <a:lnTo>
                  <a:pt x="3986" y="756"/>
                </a:lnTo>
                <a:lnTo>
                  <a:pt x="4000" y="751"/>
                </a:lnTo>
                <a:lnTo>
                  <a:pt x="4015" y="748"/>
                </a:lnTo>
                <a:lnTo>
                  <a:pt x="4031" y="746"/>
                </a:lnTo>
                <a:lnTo>
                  <a:pt x="4050" y="744"/>
                </a:lnTo>
                <a:lnTo>
                  <a:pt x="4069" y="743"/>
                </a:lnTo>
                <a:lnTo>
                  <a:pt x="4069" y="743"/>
                </a:lnTo>
                <a:lnTo>
                  <a:pt x="4094" y="744"/>
                </a:lnTo>
                <a:lnTo>
                  <a:pt x="4117" y="746"/>
                </a:lnTo>
                <a:lnTo>
                  <a:pt x="4136" y="749"/>
                </a:lnTo>
                <a:lnTo>
                  <a:pt x="4153" y="755"/>
                </a:lnTo>
                <a:lnTo>
                  <a:pt x="4168" y="760"/>
                </a:lnTo>
                <a:lnTo>
                  <a:pt x="4180" y="767"/>
                </a:lnTo>
                <a:lnTo>
                  <a:pt x="4190" y="775"/>
                </a:lnTo>
                <a:lnTo>
                  <a:pt x="4201" y="784"/>
                </a:lnTo>
                <a:lnTo>
                  <a:pt x="4208" y="792"/>
                </a:lnTo>
                <a:lnTo>
                  <a:pt x="4213" y="801"/>
                </a:lnTo>
                <a:lnTo>
                  <a:pt x="4216" y="810"/>
                </a:lnTo>
                <a:lnTo>
                  <a:pt x="4220" y="818"/>
                </a:lnTo>
                <a:lnTo>
                  <a:pt x="4223" y="837"/>
                </a:lnTo>
                <a:lnTo>
                  <a:pt x="4223" y="854"/>
                </a:lnTo>
                <a:lnTo>
                  <a:pt x="4223" y="854"/>
                </a:lnTo>
                <a:lnTo>
                  <a:pt x="4223" y="859"/>
                </a:lnTo>
                <a:lnTo>
                  <a:pt x="4221" y="866"/>
                </a:lnTo>
                <a:lnTo>
                  <a:pt x="4218" y="871"/>
                </a:lnTo>
                <a:lnTo>
                  <a:pt x="4213" y="878"/>
                </a:lnTo>
                <a:lnTo>
                  <a:pt x="4208" y="883"/>
                </a:lnTo>
                <a:lnTo>
                  <a:pt x="4199" y="887"/>
                </a:lnTo>
                <a:lnTo>
                  <a:pt x="4190" y="890"/>
                </a:lnTo>
                <a:lnTo>
                  <a:pt x="4182" y="890"/>
                </a:lnTo>
                <a:lnTo>
                  <a:pt x="4044" y="890"/>
                </a:lnTo>
                <a:lnTo>
                  <a:pt x="4044" y="890"/>
                </a:lnTo>
                <a:lnTo>
                  <a:pt x="4010" y="892"/>
                </a:lnTo>
                <a:lnTo>
                  <a:pt x="3977" y="896"/>
                </a:lnTo>
                <a:lnTo>
                  <a:pt x="3947" y="901"/>
                </a:lnTo>
                <a:lnTo>
                  <a:pt x="3917" y="908"/>
                </a:lnTo>
                <a:lnTo>
                  <a:pt x="3892" y="916"/>
                </a:lnTo>
                <a:lnTo>
                  <a:pt x="3867" y="926"/>
                </a:lnTo>
                <a:lnTo>
                  <a:pt x="3847" y="938"/>
                </a:lnTo>
                <a:lnTo>
                  <a:pt x="3826" y="952"/>
                </a:lnTo>
                <a:lnTo>
                  <a:pt x="3809" y="966"/>
                </a:lnTo>
                <a:lnTo>
                  <a:pt x="3795" y="981"/>
                </a:lnTo>
                <a:lnTo>
                  <a:pt x="3783" y="999"/>
                </a:lnTo>
                <a:lnTo>
                  <a:pt x="3773" y="1018"/>
                </a:lnTo>
                <a:lnTo>
                  <a:pt x="3764" y="1036"/>
                </a:lnTo>
                <a:lnTo>
                  <a:pt x="3759" y="1057"/>
                </a:lnTo>
                <a:lnTo>
                  <a:pt x="3756" y="1078"/>
                </a:lnTo>
                <a:lnTo>
                  <a:pt x="3754" y="1098"/>
                </a:lnTo>
                <a:lnTo>
                  <a:pt x="3754" y="1098"/>
                </a:lnTo>
                <a:lnTo>
                  <a:pt x="3756" y="1122"/>
                </a:lnTo>
                <a:lnTo>
                  <a:pt x="3758" y="1143"/>
                </a:lnTo>
                <a:lnTo>
                  <a:pt x="3763" y="1164"/>
                </a:lnTo>
                <a:lnTo>
                  <a:pt x="3770" y="1184"/>
                </a:lnTo>
                <a:lnTo>
                  <a:pt x="3780" y="1203"/>
                </a:lnTo>
                <a:lnTo>
                  <a:pt x="3790" y="1220"/>
                </a:lnTo>
                <a:lnTo>
                  <a:pt x="3804" y="1236"/>
                </a:lnTo>
                <a:lnTo>
                  <a:pt x="3819" y="1251"/>
                </a:lnTo>
                <a:lnTo>
                  <a:pt x="3837" y="1265"/>
                </a:lnTo>
                <a:lnTo>
                  <a:pt x="3855" y="1277"/>
                </a:lnTo>
                <a:lnTo>
                  <a:pt x="3878" y="1287"/>
                </a:lnTo>
                <a:lnTo>
                  <a:pt x="3902" y="1296"/>
                </a:lnTo>
                <a:lnTo>
                  <a:pt x="3928" y="1303"/>
                </a:lnTo>
                <a:lnTo>
                  <a:pt x="3955" y="1308"/>
                </a:lnTo>
                <a:lnTo>
                  <a:pt x="3986" y="1310"/>
                </a:lnTo>
                <a:lnTo>
                  <a:pt x="4019" y="1311"/>
                </a:lnTo>
                <a:lnTo>
                  <a:pt x="4019" y="1311"/>
                </a:lnTo>
                <a:lnTo>
                  <a:pt x="4058" y="1310"/>
                </a:lnTo>
                <a:lnTo>
                  <a:pt x="4096" y="1305"/>
                </a:lnTo>
                <a:lnTo>
                  <a:pt x="4130" y="1296"/>
                </a:lnTo>
                <a:lnTo>
                  <a:pt x="4160" y="1286"/>
                </a:lnTo>
                <a:lnTo>
                  <a:pt x="4185" y="1274"/>
                </a:lnTo>
                <a:lnTo>
                  <a:pt x="4208" y="1262"/>
                </a:lnTo>
                <a:lnTo>
                  <a:pt x="4227" y="1248"/>
                </a:lnTo>
                <a:lnTo>
                  <a:pt x="4240" y="1234"/>
                </a:lnTo>
                <a:lnTo>
                  <a:pt x="4240" y="1234"/>
                </a:lnTo>
                <a:lnTo>
                  <a:pt x="4244" y="1232"/>
                </a:lnTo>
                <a:lnTo>
                  <a:pt x="4247" y="1232"/>
                </a:lnTo>
                <a:lnTo>
                  <a:pt x="4251" y="1232"/>
                </a:lnTo>
                <a:lnTo>
                  <a:pt x="4252" y="1236"/>
                </a:lnTo>
                <a:lnTo>
                  <a:pt x="4252" y="1236"/>
                </a:lnTo>
                <a:lnTo>
                  <a:pt x="4263" y="1250"/>
                </a:lnTo>
                <a:lnTo>
                  <a:pt x="4273" y="1262"/>
                </a:lnTo>
                <a:lnTo>
                  <a:pt x="4287" y="1274"/>
                </a:lnTo>
                <a:lnTo>
                  <a:pt x="4302" y="1282"/>
                </a:lnTo>
                <a:lnTo>
                  <a:pt x="4319" y="1289"/>
                </a:lnTo>
                <a:lnTo>
                  <a:pt x="4340" y="1294"/>
                </a:lnTo>
                <a:lnTo>
                  <a:pt x="4362" y="1298"/>
                </a:lnTo>
                <a:lnTo>
                  <a:pt x="4388" y="1298"/>
                </a:lnTo>
                <a:lnTo>
                  <a:pt x="4441" y="1298"/>
                </a:lnTo>
                <a:lnTo>
                  <a:pt x="4441" y="1298"/>
                </a:lnTo>
                <a:lnTo>
                  <a:pt x="4445" y="1298"/>
                </a:lnTo>
                <a:lnTo>
                  <a:pt x="4446" y="1296"/>
                </a:lnTo>
                <a:lnTo>
                  <a:pt x="4448" y="1294"/>
                </a:lnTo>
                <a:lnTo>
                  <a:pt x="4448" y="1291"/>
                </a:lnTo>
                <a:lnTo>
                  <a:pt x="4448" y="1183"/>
                </a:lnTo>
                <a:lnTo>
                  <a:pt x="4448" y="1183"/>
                </a:lnTo>
                <a:lnTo>
                  <a:pt x="4448" y="1179"/>
                </a:lnTo>
                <a:lnTo>
                  <a:pt x="4446" y="1177"/>
                </a:lnTo>
                <a:lnTo>
                  <a:pt x="4445" y="1176"/>
                </a:lnTo>
                <a:lnTo>
                  <a:pt x="4441" y="1176"/>
                </a:lnTo>
                <a:lnTo>
                  <a:pt x="4441" y="1176"/>
                </a:lnTo>
                <a:close/>
                <a:moveTo>
                  <a:pt x="4223" y="1023"/>
                </a:moveTo>
                <a:lnTo>
                  <a:pt x="4223" y="1023"/>
                </a:lnTo>
                <a:lnTo>
                  <a:pt x="4223" y="1036"/>
                </a:lnTo>
                <a:lnTo>
                  <a:pt x="4221" y="1050"/>
                </a:lnTo>
                <a:lnTo>
                  <a:pt x="4218" y="1064"/>
                </a:lnTo>
                <a:lnTo>
                  <a:pt x="4213" y="1078"/>
                </a:lnTo>
                <a:lnTo>
                  <a:pt x="4206" y="1091"/>
                </a:lnTo>
                <a:lnTo>
                  <a:pt x="4197" y="1105"/>
                </a:lnTo>
                <a:lnTo>
                  <a:pt x="4187" y="1119"/>
                </a:lnTo>
                <a:lnTo>
                  <a:pt x="4177" y="1129"/>
                </a:lnTo>
                <a:lnTo>
                  <a:pt x="4163" y="1141"/>
                </a:lnTo>
                <a:lnTo>
                  <a:pt x="4148" y="1152"/>
                </a:lnTo>
                <a:lnTo>
                  <a:pt x="4132" y="1160"/>
                </a:lnTo>
                <a:lnTo>
                  <a:pt x="4113" y="1167"/>
                </a:lnTo>
                <a:lnTo>
                  <a:pt x="4093" y="1174"/>
                </a:lnTo>
                <a:lnTo>
                  <a:pt x="4070" y="1179"/>
                </a:lnTo>
                <a:lnTo>
                  <a:pt x="4044" y="1181"/>
                </a:lnTo>
                <a:lnTo>
                  <a:pt x="4019" y="1183"/>
                </a:lnTo>
                <a:lnTo>
                  <a:pt x="4019" y="1183"/>
                </a:lnTo>
                <a:lnTo>
                  <a:pt x="4002" y="1183"/>
                </a:lnTo>
                <a:lnTo>
                  <a:pt x="3986" y="1181"/>
                </a:lnTo>
                <a:lnTo>
                  <a:pt x="3972" y="1177"/>
                </a:lnTo>
                <a:lnTo>
                  <a:pt x="3960" y="1174"/>
                </a:lnTo>
                <a:lnTo>
                  <a:pt x="3948" y="1171"/>
                </a:lnTo>
                <a:lnTo>
                  <a:pt x="3940" y="1165"/>
                </a:lnTo>
                <a:lnTo>
                  <a:pt x="3929" y="1160"/>
                </a:lnTo>
                <a:lnTo>
                  <a:pt x="3922" y="1155"/>
                </a:lnTo>
                <a:lnTo>
                  <a:pt x="3916" y="1148"/>
                </a:lnTo>
                <a:lnTo>
                  <a:pt x="3910" y="1141"/>
                </a:lnTo>
                <a:lnTo>
                  <a:pt x="3902" y="1128"/>
                </a:lnTo>
                <a:lnTo>
                  <a:pt x="3898" y="1114"/>
                </a:lnTo>
                <a:lnTo>
                  <a:pt x="3897" y="1098"/>
                </a:lnTo>
                <a:lnTo>
                  <a:pt x="3897" y="1098"/>
                </a:lnTo>
                <a:lnTo>
                  <a:pt x="3897" y="1083"/>
                </a:lnTo>
                <a:lnTo>
                  <a:pt x="3902" y="1067"/>
                </a:lnTo>
                <a:lnTo>
                  <a:pt x="3905" y="1059"/>
                </a:lnTo>
                <a:lnTo>
                  <a:pt x="3910" y="1052"/>
                </a:lnTo>
                <a:lnTo>
                  <a:pt x="3916" y="1043"/>
                </a:lnTo>
                <a:lnTo>
                  <a:pt x="3924" y="1036"/>
                </a:lnTo>
                <a:lnTo>
                  <a:pt x="3933" y="1031"/>
                </a:lnTo>
                <a:lnTo>
                  <a:pt x="3943" y="1024"/>
                </a:lnTo>
                <a:lnTo>
                  <a:pt x="3955" y="1019"/>
                </a:lnTo>
                <a:lnTo>
                  <a:pt x="3971" y="1014"/>
                </a:lnTo>
                <a:lnTo>
                  <a:pt x="3986" y="1011"/>
                </a:lnTo>
                <a:lnTo>
                  <a:pt x="4005" y="1009"/>
                </a:lnTo>
                <a:lnTo>
                  <a:pt x="4026" y="1007"/>
                </a:lnTo>
                <a:lnTo>
                  <a:pt x="4050" y="1006"/>
                </a:lnTo>
                <a:lnTo>
                  <a:pt x="4218" y="1006"/>
                </a:lnTo>
                <a:lnTo>
                  <a:pt x="4218" y="1006"/>
                </a:lnTo>
                <a:lnTo>
                  <a:pt x="4220" y="1007"/>
                </a:lnTo>
                <a:lnTo>
                  <a:pt x="4221" y="1007"/>
                </a:lnTo>
                <a:lnTo>
                  <a:pt x="4223" y="1011"/>
                </a:lnTo>
                <a:lnTo>
                  <a:pt x="4223" y="1012"/>
                </a:lnTo>
                <a:lnTo>
                  <a:pt x="4223" y="1023"/>
                </a:lnTo>
                <a:close/>
                <a:moveTo>
                  <a:pt x="4869" y="614"/>
                </a:moveTo>
                <a:lnTo>
                  <a:pt x="4869" y="614"/>
                </a:lnTo>
                <a:lnTo>
                  <a:pt x="4842" y="615"/>
                </a:lnTo>
                <a:lnTo>
                  <a:pt x="4816" y="619"/>
                </a:lnTo>
                <a:lnTo>
                  <a:pt x="4792" y="626"/>
                </a:lnTo>
                <a:lnTo>
                  <a:pt x="4770" y="636"/>
                </a:lnTo>
                <a:lnTo>
                  <a:pt x="4747" y="646"/>
                </a:lnTo>
                <a:lnTo>
                  <a:pt x="4730" y="658"/>
                </a:lnTo>
                <a:lnTo>
                  <a:pt x="4715" y="672"/>
                </a:lnTo>
                <a:lnTo>
                  <a:pt x="4702" y="684"/>
                </a:lnTo>
                <a:lnTo>
                  <a:pt x="4702" y="684"/>
                </a:lnTo>
                <a:lnTo>
                  <a:pt x="4699" y="688"/>
                </a:lnTo>
                <a:lnTo>
                  <a:pt x="4696" y="689"/>
                </a:lnTo>
                <a:lnTo>
                  <a:pt x="4690" y="688"/>
                </a:lnTo>
                <a:lnTo>
                  <a:pt x="4689" y="684"/>
                </a:lnTo>
                <a:lnTo>
                  <a:pt x="4675" y="633"/>
                </a:lnTo>
                <a:lnTo>
                  <a:pt x="4675" y="633"/>
                </a:lnTo>
                <a:lnTo>
                  <a:pt x="4672" y="629"/>
                </a:lnTo>
                <a:lnTo>
                  <a:pt x="4670" y="627"/>
                </a:lnTo>
                <a:lnTo>
                  <a:pt x="4666" y="627"/>
                </a:lnTo>
                <a:lnTo>
                  <a:pt x="4553" y="627"/>
                </a:lnTo>
                <a:lnTo>
                  <a:pt x="4553" y="627"/>
                </a:lnTo>
                <a:lnTo>
                  <a:pt x="4550" y="627"/>
                </a:lnTo>
                <a:lnTo>
                  <a:pt x="4548" y="629"/>
                </a:lnTo>
                <a:lnTo>
                  <a:pt x="4546" y="631"/>
                </a:lnTo>
                <a:lnTo>
                  <a:pt x="4546" y="633"/>
                </a:lnTo>
                <a:lnTo>
                  <a:pt x="4546" y="1291"/>
                </a:lnTo>
                <a:lnTo>
                  <a:pt x="4546" y="1291"/>
                </a:lnTo>
                <a:lnTo>
                  <a:pt x="4546" y="1294"/>
                </a:lnTo>
                <a:lnTo>
                  <a:pt x="4548" y="1296"/>
                </a:lnTo>
                <a:lnTo>
                  <a:pt x="4550" y="1298"/>
                </a:lnTo>
                <a:lnTo>
                  <a:pt x="4553" y="1298"/>
                </a:lnTo>
                <a:lnTo>
                  <a:pt x="4682" y="1298"/>
                </a:lnTo>
                <a:lnTo>
                  <a:pt x="4682" y="1298"/>
                </a:lnTo>
                <a:lnTo>
                  <a:pt x="4684" y="1298"/>
                </a:lnTo>
                <a:lnTo>
                  <a:pt x="4687" y="1296"/>
                </a:lnTo>
                <a:lnTo>
                  <a:pt x="4687" y="1294"/>
                </a:lnTo>
                <a:lnTo>
                  <a:pt x="4689" y="1291"/>
                </a:lnTo>
                <a:lnTo>
                  <a:pt x="4689" y="921"/>
                </a:lnTo>
                <a:lnTo>
                  <a:pt x="4689" y="921"/>
                </a:lnTo>
                <a:lnTo>
                  <a:pt x="4689" y="904"/>
                </a:lnTo>
                <a:lnTo>
                  <a:pt x="4690" y="887"/>
                </a:lnTo>
                <a:lnTo>
                  <a:pt x="4694" y="871"/>
                </a:lnTo>
                <a:lnTo>
                  <a:pt x="4697" y="854"/>
                </a:lnTo>
                <a:lnTo>
                  <a:pt x="4704" y="839"/>
                </a:lnTo>
                <a:lnTo>
                  <a:pt x="4711" y="825"/>
                </a:lnTo>
                <a:lnTo>
                  <a:pt x="4718" y="811"/>
                </a:lnTo>
                <a:lnTo>
                  <a:pt x="4728" y="798"/>
                </a:lnTo>
                <a:lnTo>
                  <a:pt x="4739" y="786"/>
                </a:lnTo>
                <a:lnTo>
                  <a:pt x="4751" y="775"/>
                </a:lnTo>
                <a:lnTo>
                  <a:pt x="4764" y="767"/>
                </a:lnTo>
                <a:lnTo>
                  <a:pt x="4778" y="758"/>
                </a:lnTo>
                <a:lnTo>
                  <a:pt x="4794" y="751"/>
                </a:lnTo>
                <a:lnTo>
                  <a:pt x="4811" y="748"/>
                </a:lnTo>
                <a:lnTo>
                  <a:pt x="4830" y="744"/>
                </a:lnTo>
                <a:lnTo>
                  <a:pt x="4849" y="743"/>
                </a:lnTo>
                <a:lnTo>
                  <a:pt x="4849" y="743"/>
                </a:lnTo>
                <a:lnTo>
                  <a:pt x="4869" y="744"/>
                </a:lnTo>
                <a:lnTo>
                  <a:pt x="4890" y="748"/>
                </a:lnTo>
                <a:lnTo>
                  <a:pt x="4907" y="753"/>
                </a:lnTo>
                <a:lnTo>
                  <a:pt x="4924" y="760"/>
                </a:lnTo>
                <a:lnTo>
                  <a:pt x="4938" y="768"/>
                </a:lnTo>
                <a:lnTo>
                  <a:pt x="4952" y="779"/>
                </a:lnTo>
                <a:lnTo>
                  <a:pt x="4964" y="789"/>
                </a:lnTo>
                <a:lnTo>
                  <a:pt x="4974" y="801"/>
                </a:lnTo>
                <a:lnTo>
                  <a:pt x="4983" y="815"/>
                </a:lnTo>
                <a:lnTo>
                  <a:pt x="4991" y="830"/>
                </a:lnTo>
                <a:lnTo>
                  <a:pt x="4996" y="846"/>
                </a:lnTo>
                <a:lnTo>
                  <a:pt x="5001" y="861"/>
                </a:lnTo>
                <a:lnTo>
                  <a:pt x="5005" y="877"/>
                </a:lnTo>
                <a:lnTo>
                  <a:pt x="5008" y="894"/>
                </a:lnTo>
                <a:lnTo>
                  <a:pt x="5010" y="911"/>
                </a:lnTo>
                <a:lnTo>
                  <a:pt x="5010" y="928"/>
                </a:lnTo>
                <a:lnTo>
                  <a:pt x="5010" y="1291"/>
                </a:lnTo>
                <a:lnTo>
                  <a:pt x="5010" y="1291"/>
                </a:lnTo>
                <a:lnTo>
                  <a:pt x="5012" y="1294"/>
                </a:lnTo>
                <a:lnTo>
                  <a:pt x="5012" y="1296"/>
                </a:lnTo>
                <a:lnTo>
                  <a:pt x="5015" y="1298"/>
                </a:lnTo>
                <a:lnTo>
                  <a:pt x="5017" y="1298"/>
                </a:lnTo>
                <a:lnTo>
                  <a:pt x="5147" y="1298"/>
                </a:lnTo>
                <a:lnTo>
                  <a:pt x="5147" y="1298"/>
                </a:lnTo>
                <a:lnTo>
                  <a:pt x="5149" y="1298"/>
                </a:lnTo>
                <a:lnTo>
                  <a:pt x="5153" y="1296"/>
                </a:lnTo>
                <a:lnTo>
                  <a:pt x="5153" y="1294"/>
                </a:lnTo>
                <a:lnTo>
                  <a:pt x="5154" y="1291"/>
                </a:lnTo>
                <a:lnTo>
                  <a:pt x="5154" y="928"/>
                </a:lnTo>
                <a:lnTo>
                  <a:pt x="5154" y="928"/>
                </a:lnTo>
                <a:lnTo>
                  <a:pt x="5153" y="896"/>
                </a:lnTo>
                <a:lnTo>
                  <a:pt x="5149" y="866"/>
                </a:lnTo>
                <a:lnTo>
                  <a:pt x="5144" y="835"/>
                </a:lnTo>
                <a:lnTo>
                  <a:pt x="5137" y="806"/>
                </a:lnTo>
                <a:lnTo>
                  <a:pt x="5129" y="780"/>
                </a:lnTo>
                <a:lnTo>
                  <a:pt x="5117" y="753"/>
                </a:lnTo>
                <a:lnTo>
                  <a:pt x="5103" y="729"/>
                </a:lnTo>
                <a:lnTo>
                  <a:pt x="5086" y="706"/>
                </a:lnTo>
                <a:lnTo>
                  <a:pt x="5068" y="686"/>
                </a:lnTo>
                <a:lnTo>
                  <a:pt x="5046" y="669"/>
                </a:lnTo>
                <a:lnTo>
                  <a:pt x="5024" y="651"/>
                </a:lnTo>
                <a:lnTo>
                  <a:pt x="4998" y="638"/>
                </a:lnTo>
                <a:lnTo>
                  <a:pt x="4969" y="627"/>
                </a:lnTo>
                <a:lnTo>
                  <a:pt x="4938" y="620"/>
                </a:lnTo>
                <a:lnTo>
                  <a:pt x="4905" y="615"/>
                </a:lnTo>
                <a:lnTo>
                  <a:pt x="4869" y="614"/>
                </a:lnTo>
                <a:lnTo>
                  <a:pt x="4869" y="614"/>
                </a:lnTo>
                <a:close/>
                <a:moveTo>
                  <a:pt x="5615" y="627"/>
                </a:moveTo>
                <a:lnTo>
                  <a:pt x="5474" y="627"/>
                </a:lnTo>
                <a:lnTo>
                  <a:pt x="5474" y="627"/>
                </a:lnTo>
                <a:lnTo>
                  <a:pt x="5472" y="626"/>
                </a:lnTo>
                <a:lnTo>
                  <a:pt x="5470" y="624"/>
                </a:lnTo>
                <a:lnTo>
                  <a:pt x="5469" y="622"/>
                </a:lnTo>
                <a:lnTo>
                  <a:pt x="5469" y="620"/>
                </a:lnTo>
                <a:lnTo>
                  <a:pt x="5469" y="440"/>
                </a:lnTo>
                <a:lnTo>
                  <a:pt x="5469" y="440"/>
                </a:lnTo>
                <a:lnTo>
                  <a:pt x="5467" y="438"/>
                </a:lnTo>
                <a:lnTo>
                  <a:pt x="5467" y="437"/>
                </a:lnTo>
                <a:lnTo>
                  <a:pt x="5464" y="435"/>
                </a:lnTo>
                <a:lnTo>
                  <a:pt x="5462" y="435"/>
                </a:lnTo>
                <a:lnTo>
                  <a:pt x="5331" y="435"/>
                </a:lnTo>
                <a:lnTo>
                  <a:pt x="5331" y="435"/>
                </a:lnTo>
                <a:lnTo>
                  <a:pt x="5328" y="435"/>
                </a:lnTo>
                <a:lnTo>
                  <a:pt x="5326" y="437"/>
                </a:lnTo>
                <a:lnTo>
                  <a:pt x="5324" y="438"/>
                </a:lnTo>
                <a:lnTo>
                  <a:pt x="5324" y="440"/>
                </a:lnTo>
                <a:lnTo>
                  <a:pt x="5324" y="620"/>
                </a:lnTo>
                <a:lnTo>
                  <a:pt x="5324" y="620"/>
                </a:lnTo>
                <a:lnTo>
                  <a:pt x="5324" y="622"/>
                </a:lnTo>
                <a:lnTo>
                  <a:pt x="5323" y="624"/>
                </a:lnTo>
                <a:lnTo>
                  <a:pt x="5321" y="626"/>
                </a:lnTo>
                <a:lnTo>
                  <a:pt x="5318" y="627"/>
                </a:lnTo>
                <a:lnTo>
                  <a:pt x="5206" y="627"/>
                </a:lnTo>
                <a:lnTo>
                  <a:pt x="5206" y="627"/>
                </a:lnTo>
                <a:lnTo>
                  <a:pt x="5202" y="627"/>
                </a:lnTo>
                <a:lnTo>
                  <a:pt x="5201" y="629"/>
                </a:lnTo>
                <a:lnTo>
                  <a:pt x="5199" y="631"/>
                </a:lnTo>
                <a:lnTo>
                  <a:pt x="5199" y="633"/>
                </a:lnTo>
                <a:lnTo>
                  <a:pt x="5199" y="739"/>
                </a:lnTo>
                <a:lnTo>
                  <a:pt x="5199" y="739"/>
                </a:lnTo>
                <a:lnTo>
                  <a:pt x="5199" y="743"/>
                </a:lnTo>
                <a:lnTo>
                  <a:pt x="5201" y="744"/>
                </a:lnTo>
                <a:lnTo>
                  <a:pt x="5202" y="746"/>
                </a:lnTo>
                <a:lnTo>
                  <a:pt x="5206" y="746"/>
                </a:lnTo>
                <a:lnTo>
                  <a:pt x="5318" y="746"/>
                </a:lnTo>
                <a:lnTo>
                  <a:pt x="5318" y="746"/>
                </a:lnTo>
                <a:lnTo>
                  <a:pt x="5321" y="746"/>
                </a:lnTo>
                <a:lnTo>
                  <a:pt x="5323" y="748"/>
                </a:lnTo>
                <a:lnTo>
                  <a:pt x="5324" y="749"/>
                </a:lnTo>
                <a:lnTo>
                  <a:pt x="5324" y="753"/>
                </a:lnTo>
                <a:lnTo>
                  <a:pt x="5324" y="1110"/>
                </a:lnTo>
                <a:lnTo>
                  <a:pt x="5324" y="1110"/>
                </a:lnTo>
                <a:lnTo>
                  <a:pt x="5326" y="1134"/>
                </a:lnTo>
                <a:lnTo>
                  <a:pt x="5328" y="1157"/>
                </a:lnTo>
                <a:lnTo>
                  <a:pt x="5330" y="1177"/>
                </a:lnTo>
                <a:lnTo>
                  <a:pt x="5335" y="1196"/>
                </a:lnTo>
                <a:lnTo>
                  <a:pt x="5342" y="1213"/>
                </a:lnTo>
                <a:lnTo>
                  <a:pt x="5349" y="1229"/>
                </a:lnTo>
                <a:lnTo>
                  <a:pt x="5357" y="1243"/>
                </a:lnTo>
                <a:lnTo>
                  <a:pt x="5367" y="1255"/>
                </a:lnTo>
                <a:lnTo>
                  <a:pt x="5379" y="1265"/>
                </a:lnTo>
                <a:lnTo>
                  <a:pt x="5393" y="1274"/>
                </a:lnTo>
                <a:lnTo>
                  <a:pt x="5409" y="1281"/>
                </a:lnTo>
                <a:lnTo>
                  <a:pt x="5426" y="1287"/>
                </a:lnTo>
                <a:lnTo>
                  <a:pt x="5443" y="1293"/>
                </a:lnTo>
                <a:lnTo>
                  <a:pt x="5464" y="1296"/>
                </a:lnTo>
                <a:lnTo>
                  <a:pt x="5486" y="1298"/>
                </a:lnTo>
                <a:lnTo>
                  <a:pt x="5510" y="1298"/>
                </a:lnTo>
                <a:lnTo>
                  <a:pt x="5615" y="1298"/>
                </a:lnTo>
                <a:lnTo>
                  <a:pt x="5615" y="1298"/>
                </a:lnTo>
                <a:lnTo>
                  <a:pt x="5617" y="1298"/>
                </a:lnTo>
                <a:lnTo>
                  <a:pt x="5618" y="1296"/>
                </a:lnTo>
                <a:lnTo>
                  <a:pt x="5620" y="1294"/>
                </a:lnTo>
                <a:lnTo>
                  <a:pt x="5620" y="1291"/>
                </a:lnTo>
                <a:lnTo>
                  <a:pt x="5620" y="1176"/>
                </a:lnTo>
                <a:lnTo>
                  <a:pt x="5620" y="1176"/>
                </a:lnTo>
                <a:lnTo>
                  <a:pt x="5620" y="1174"/>
                </a:lnTo>
                <a:lnTo>
                  <a:pt x="5618" y="1171"/>
                </a:lnTo>
                <a:lnTo>
                  <a:pt x="5617" y="1171"/>
                </a:lnTo>
                <a:lnTo>
                  <a:pt x="5615" y="1169"/>
                </a:lnTo>
                <a:lnTo>
                  <a:pt x="5527" y="1169"/>
                </a:lnTo>
                <a:lnTo>
                  <a:pt x="5527" y="1169"/>
                </a:lnTo>
                <a:lnTo>
                  <a:pt x="5513" y="1169"/>
                </a:lnTo>
                <a:lnTo>
                  <a:pt x="5501" y="1165"/>
                </a:lnTo>
                <a:lnTo>
                  <a:pt x="5491" y="1160"/>
                </a:lnTo>
                <a:lnTo>
                  <a:pt x="5483" y="1155"/>
                </a:lnTo>
                <a:lnTo>
                  <a:pt x="5476" y="1146"/>
                </a:lnTo>
                <a:lnTo>
                  <a:pt x="5472" y="1138"/>
                </a:lnTo>
                <a:lnTo>
                  <a:pt x="5469" y="1128"/>
                </a:lnTo>
                <a:lnTo>
                  <a:pt x="5469" y="1116"/>
                </a:lnTo>
                <a:lnTo>
                  <a:pt x="5469" y="753"/>
                </a:lnTo>
                <a:lnTo>
                  <a:pt x="5469" y="753"/>
                </a:lnTo>
                <a:lnTo>
                  <a:pt x="5469" y="749"/>
                </a:lnTo>
                <a:lnTo>
                  <a:pt x="5470" y="748"/>
                </a:lnTo>
                <a:lnTo>
                  <a:pt x="5472" y="746"/>
                </a:lnTo>
                <a:lnTo>
                  <a:pt x="5474" y="746"/>
                </a:lnTo>
                <a:lnTo>
                  <a:pt x="5615" y="746"/>
                </a:lnTo>
                <a:lnTo>
                  <a:pt x="5615" y="746"/>
                </a:lnTo>
                <a:lnTo>
                  <a:pt x="5617" y="746"/>
                </a:lnTo>
                <a:lnTo>
                  <a:pt x="5618" y="744"/>
                </a:lnTo>
                <a:lnTo>
                  <a:pt x="5620" y="743"/>
                </a:lnTo>
                <a:lnTo>
                  <a:pt x="5620" y="739"/>
                </a:lnTo>
                <a:lnTo>
                  <a:pt x="5620" y="633"/>
                </a:lnTo>
                <a:lnTo>
                  <a:pt x="5620" y="633"/>
                </a:lnTo>
                <a:lnTo>
                  <a:pt x="5620" y="631"/>
                </a:lnTo>
                <a:lnTo>
                  <a:pt x="5618" y="629"/>
                </a:lnTo>
                <a:lnTo>
                  <a:pt x="5617" y="627"/>
                </a:lnTo>
                <a:lnTo>
                  <a:pt x="5615" y="627"/>
                </a:lnTo>
                <a:lnTo>
                  <a:pt x="5615" y="627"/>
                </a:lnTo>
                <a:close/>
                <a:moveTo>
                  <a:pt x="6582" y="627"/>
                </a:moveTo>
                <a:lnTo>
                  <a:pt x="6453" y="627"/>
                </a:lnTo>
                <a:lnTo>
                  <a:pt x="6453" y="627"/>
                </a:lnTo>
                <a:lnTo>
                  <a:pt x="6452" y="627"/>
                </a:lnTo>
                <a:lnTo>
                  <a:pt x="6448" y="629"/>
                </a:lnTo>
                <a:lnTo>
                  <a:pt x="6448" y="631"/>
                </a:lnTo>
                <a:lnTo>
                  <a:pt x="6446" y="633"/>
                </a:lnTo>
                <a:lnTo>
                  <a:pt x="6446" y="1004"/>
                </a:lnTo>
                <a:lnTo>
                  <a:pt x="6446" y="1004"/>
                </a:lnTo>
                <a:lnTo>
                  <a:pt x="6446" y="1021"/>
                </a:lnTo>
                <a:lnTo>
                  <a:pt x="6445" y="1038"/>
                </a:lnTo>
                <a:lnTo>
                  <a:pt x="6441" y="1054"/>
                </a:lnTo>
                <a:lnTo>
                  <a:pt x="6438" y="1069"/>
                </a:lnTo>
                <a:lnTo>
                  <a:pt x="6431" y="1085"/>
                </a:lnTo>
                <a:lnTo>
                  <a:pt x="6424" y="1100"/>
                </a:lnTo>
                <a:lnTo>
                  <a:pt x="6417" y="1114"/>
                </a:lnTo>
                <a:lnTo>
                  <a:pt x="6407" y="1126"/>
                </a:lnTo>
                <a:lnTo>
                  <a:pt x="6397" y="1138"/>
                </a:lnTo>
                <a:lnTo>
                  <a:pt x="6385" y="1150"/>
                </a:lnTo>
                <a:lnTo>
                  <a:pt x="6371" y="1158"/>
                </a:lnTo>
                <a:lnTo>
                  <a:pt x="6357" y="1167"/>
                </a:lnTo>
                <a:lnTo>
                  <a:pt x="6342" y="1172"/>
                </a:lnTo>
                <a:lnTo>
                  <a:pt x="6324" y="1177"/>
                </a:lnTo>
                <a:lnTo>
                  <a:pt x="6306" y="1181"/>
                </a:lnTo>
                <a:lnTo>
                  <a:pt x="6287" y="1181"/>
                </a:lnTo>
                <a:lnTo>
                  <a:pt x="6287" y="1181"/>
                </a:lnTo>
                <a:lnTo>
                  <a:pt x="6266" y="1181"/>
                </a:lnTo>
                <a:lnTo>
                  <a:pt x="6245" y="1177"/>
                </a:lnTo>
                <a:lnTo>
                  <a:pt x="6228" y="1172"/>
                </a:lnTo>
                <a:lnTo>
                  <a:pt x="6211" y="1165"/>
                </a:lnTo>
                <a:lnTo>
                  <a:pt x="6197" y="1157"/>
                </a:lnTo>
                <a:lnTo>
                  <a:pt x="6184" y="1146"/>
                </a:lnTo>
                <a:lnTo>
                  <a:pt x="6171" y="1136"/>
                </a:lnTo>
                <a:lnTo>
                  <a:pt x="6161" y="1122"/>
                </a:lnTo>
                <a:lnTo>
                  <a:pt x="6153" y="1109"/>
                </a:lnTo>
                <a:lnTo>
                  <a:pt x="6144" y="1095"/>
                </a:lnTo>
                <a:lnTo>
                  <a:pt x="6139" y="1079"/>
                </a:lnTo>
                <a:lnTo>
                  <a:pt x="6134" y="1064"/>
                </a:lnTo>
                <a:lnTo>
                  <a:pt x="6130" y="1047"/>
                </a:lnTo>
                <a:lnTo>
                  <a:pt x="6127" y="1031"/>
                </a:lnTo>
                <a:lnTo>
                  <a:pt x="6125" y="1014"/>
                </a:lnTo>
                <a:lnTo>
                  <a:pt x="6125" y="997"/>
                </a:lnTo>
                <a:lnTo>
                  <a:pt x="6125" y="633"/>
                </a:lnTo>
                <a:lnTo>
                  <a:pt x="6125" y="633"/>
                </a:lnTo>
                <a:lnTo>
                  <a:pt x="6123" y="631"/>
                </a:lnTo>
                <a:lnTo>
                  <a:pt x="6123" y="629"/>
                </a:lnTo>
                <a:lnTo>
                  <a:pt x="6120" y="627"/>
                </a:lnTo>
                <a:lnTo>
                  <a:pt x="6118" y="627"/>
                </a:lnTo>
                <a:lnTo>
                  <a:pt x="5988" y="627"/>
                </a:lnTo>
                <a:lnTo>
                  <a:pt x="5988" y="627"/>
                </a:lnTo>
                <a:lnTo>
                  <a:pt x="5986" y="627"/>
                </a:lnTo>
                <a:lnTo>
                  <a:pt x="5982" y="629"/>
                </a:lnTo>
                <a:lnTo>
                  <a:pt x="5982" y="631"/>
                </a:lnTo>
                <a:lnTo>
                  <a:pt x="5981" y="633"/>
                </a:lnTo>
                <a:lnTo>
                  <a:pt x="5981" y="997"/>
                </a:lnTo>
                <a:lnTo>
                  <a:pt x="5981" y="997"/>
                </a:lnTo>
                <a:lnTo>
                  <a:pt x="5982" y="1028"/>
                </a:lnTo>
                <a:lnTo>
                  <a:pt x="5986" y="1059"/>
                </a:lnTo>
                <a:lnTo>
                  <a:pt x="5991" y="1088"/>
                </a:lnTo>
                <a:lnTo>
                  <a:pt x="5998" y="1117"/>
                </a:lnTo>
                <a:lnTo>
                  <a:pt x="6007" y="1145"/>
                </a:lnTo>
                <a:lnTo>
                  <a:pt x="6019" y="1171"/>
                </a:lnTo>
                <a:lnTo>
                  <a:pt x="6032" y="1195"/>
                </a:lnTo>
                <a:lnTo>
                  <a:pt x="6050" y="1217"/>
                </a:lnTo>
                <a:lnTo>
                  <a:pt x="6067" y="1238"/>
                </a:lnTo>
                <a:lnTo>
                  <a:pt x="6089" y="1256"/>
                </a:lnTo>
                <a:lnTo>
                  <a:pt x="6111" y="1272"/>
                </a:lnTo>
                <a:lnTo>
                  <a:pt x="6137" y="1286"/>
                </a:lnTo>
                <a:lnTo>
                  <a:pt x="6166" y="1296"/>
                </a:lnTo>
                <a:lnTo>
                  <a:pt x="6197" y="1305"/>
                </a:lnTo>
                <a:lnTo>
                  <a:pt x="6230" y="1310"/>
                </a:lnTo>
                <a:lnTo>
                  <a:pt x="6266" y="1311"/>
                </a:lnTo>
                <a:lnTo>
                  <a:pt x="6266" y="1311"/>
                </a:lnTo>
                <a:lnTo>
                  <a:pt x="6293" y="1310"/>
                </a:lnTo>
                <a:lnTo>
                  <a:pt x="6319" y="1305"/>
                </a:lnTo>
                <a:lnTo>
                  <a:pt x="6343" y="1298"/>
                </a:lnTo>
                <a:lnTo>
                  <a:pt x="6366" y="1289"/>
                </a:lnTo>
                <a:lnTo>
                  <a:pt x="6388" y="1279"/>
                </a:lnTo>
                <a:lnTo>
                  <a:pt x="6405" y="1265"/>
                </a:lnTo>
                <a:lnTo>
                  <a:pt x="6421" y="1253"/>
                </a:lnTo>
                <a:lnTo>
                  <a:pt x="6433" y="1239"/>
                </a:lnTo>
                <a:lnTo>
                  <a:pt x="6433" y="1239"/>
                </a:lnTo>
                <a:lnTo>
                  <a:pt x="6436" y="1238"/>
                </a:lnTo>
                <a:lnTo>
                  <a:pt x="6440" y="1236"/>
                </a:lnTo>
                <a:lnTo>
                  <a:pt x="6445" y="1238"/>
                </a:lnTo>
                <a:lnTo>
                  <a:pt x="6446" y="1241"/>
                </a:lnTo>
                <a:lnTo>
                  <a:pt x="6460" y="1291"/>
                </a:lnTo>
                <a:lnTo>
                  <a:pt x="6460" y="1291"/>
                </a:lnTo>
                <a:lnTo>
                  <a:pt x="6464" y="1296"/>
                </a:lnTo>
                <a:lnTo>
                  <a:pt x="6465" y="1298"/>
                </a:lnTo>
                <a:lnTo>
                  <a:pt x="6469" y="1298"/>
                </a:lnTo>
                <a:lnTo>
                  <a:pt x="6582" y="1298"/>
                </a:lnTo>
                <a:lnTo>
                  <a:pt x="6582" y="1298"/>
                </a:lnTo>
                <a:lnTo>
                  <a:pt x="6586" y="1298"/>
                </a:lnTo>
                <a:lnTo>
                  <a:pt x="6587" y="1296"/>
                </a:lnTo>
                <a:lnTo>
                  <a:pt x="6589" y="1294"/>
                </a:lnTo>
                <a:lnTo>
                  <a:pt x="6589" y="1291"/>
                </a:lnTo>
                <a:lnTo>
                  <a:pt x="6589" y="633"/>
                </a:lnTo>
                <a:lnTo>
                  <a:pt x="6589" y="633"/>
                </a:lnTo>
                <a:lnTo>
                  <a:pt x="6589" y="631"/>
                </a:lnTo>
                <a:lnTo>
                  <a:pt x="6587" y="629"/>
                </a:lnTo>
                <a:lnTo>
                  <a:pt x="6586" y="627"/>
                </a:lnTo>
                <a:lnTo>
                  <a:pt x="6582" y="627"/>
                </a:lnTo>
                <a:lnTo>
                  <a:pt x="6582" y="627"/>
                </a:lnTo>
                <a:close/>
                <a:moveTo>
                  <a:pt x="7417" y="614"/>
                </a:moveTo>
                <a:lnTo>
                  <a:pt x="7417" y="614"/>
                </a:lnTo>
                <a:lnTo>
                  <a:pt x="7390" y="615"/>
                </a:lnTo>
                <a:lnTo>
                  <a:pt x="7362" y="619"/>
                </a:lnTo>
                <a:lnTo>
                  <a:pt x="7336" y="626"/>
                </a:lnTo>
                <a:lnTo>
                  <a:pt x="7312" y="636"/>
                </a:lnTo>
                <a:lnTo>
                  <a:pt x="7288" y="646"/>
                </a:lnTo>
                <a:lnTo>
                  <a:pt x="7266" y="660"/>
                </a:lnTo>
                <a:lnTo>
                  <a:pt x="7247" y="676"/>
                </a:lnTo>
                <a:lnTo>
                  <a:pt x="7228" y="693"/>
                </a:lnTo>
                <a:lnTo>
                  <a:pt x="7228" y="693"/>
                </a:lnTo>
                <a:lnTo>
                  <a:pt x="7225" y="696"/>
                </a:lnTo>
                <a:lnTo>
                  <a:pt x="7221" y="696"/>
                </a:lnTo>
                <a:lnTo>
                  <a:pt x="7218" y="694"/>
                </a:lnTo>
                <a:lnTo>
                  <a:pt x="7214" y="693"/>
                </a:lnTo>
                <a:lnTo>
                  <a:pt x="7214" y="693"/>
                </a:lnTo>
                <a:lnTo>
                  <a:pt x="7197" y="674"/>
                </a:lnTo>
                <a:lnTo>
                  <a:pt x="7178" y="658"/>
                </a:lnTo>
                <a:lnTo>
                  <a:pt x="7159" y="645"/>
                </a:lnTo>
                <a:lnTo>
                  <a:pt x="7139" y="633"/>
                </a:lnTo>
                <a:lnTo>
                  <a:pt x="7115" y="624"/>
                </a:lnTo>
                <a:lnTo>
                  <a:pt x="7091" y="619"/>
                </a:lnTo>
                <a:lnTo>
                  <a:pt x="7063" y="615"/>
                </a:lnTo>
                <a:lnTo>
                  <a:pt x="7034" y="614"/>
                </a:lnTo>
                <a:lnTo>
                  <a:pt x="7034" y="614"/>
                </a:lnTo>
                <a:lnTo>
                  <a:pt x="7010" y="615"/>
                </a:lnTo>
                <a:lnTo>
                  <a:pt x="6986" y="619"/>
                </a:lnTo>
                <a:lnTo>
                  <a:pt x="6962" y="627"/>
                </a:lnTo>
                <a:lnTo>
                  <a:pt x="6941" y="636"/>
                </a:lnTo>
                <a:lnTo>
                  <a:pt x="6921" y="646"/>
                </a:lnTo>
                <a:lnTo>
                  <a:pt x="6902" y="658"/>
                </a:lnTo>
                <a:lnTo>
                  <a:pt x="6886" y="672"/>
                </a:lnTo>
                <a:lnTo>
                  <a:pt x="6874" y="684"/>
                </a:lnTo>
                <a:lnTo>
                  <a:pt x="6874" y="684"/>
                </a:lnTo>
                <a:lnTo>
                  <a:pt x="6871" y="688"/>
                </a:lnTo>
                <a:lnTo>
                  <a:pt x="6866" y="689"/>
                </a:lnTo>
                <a:lnTo>
                  <a:pt x="6862" y="688"/>
                </a:lnTo>
                <a:lnTo>
                  <a:pt x="6859" y="684"/>
                </a:lnTo>
                <a:lnTo>
                  <a:pt x="6847" y="634"/>
                </a:lnTo>
                <a:lnTo>
                  <a:pt x="6847" y="634"/>
                </a:lnTo>
                <a:lnTo>
                  <a:pt x="6845" y="631"/>
                </a:lnTo>
                <a:lnTo>
                  <a:pt x="6843" y="629"/>
                </a:lnTo>
                <a:lnTo>
                  <a:pt x="6840" y="627"/>
                </a:lnTo>
                <a:lnTo>
                  <a:pt x="6836" y="627"/>
                </a:lnTo>
                <a:lnTo>
                  <a:pt x="6725" y="627"/>
                </a:lnTo>
                <a:lnTo>
                  <a:pt x="6725" y="627"/>
                </a:lnTo>
                <a:lnTo>
                  <a:pt x="6721" y="627"/>
                </a:lnTo>
                <a:lnTo>
                  <a:pt x="6720" y="629"/>
                </a:lnTo>
                <a:lnTo>
                  <a:pt x="6718" y="631"/>
                </a:lnTo>
                <a:lnTo>
                  <a:pt x="6718" y="633"/>
                </a:lnTo>
                <a:lnTo>
                  <a:pt x="6718" y="1291"/>
                </a:lnTo>
                <a:lnTo>
                  <a:pt x="6718" y="1291"/>
                </a:lnTo>
                <a:lnTo>
                  <a:pt x="6718" y="1294"/>
                </a:lnTo>
                <a:lnTo>
                  <a:pt x="6720" y="1296"/>
                </a:lnTo>
                <a:lnTo>
                  <a:pt x="6721" y="1298"/>
                </a:lnTo>
                <a:lnTo>
                  <a:pt x="6725" y="1298"/>
                </a:lnTo>
                <a:lnTo>
                  <a:pt x="6854" y="1298"/>
                </a:lnTo>
                <a:lnTo>
                  <a:pt x="6854" y="1298"/>
                </a:lnTo>
                <a:lnTo>
                  <a:pt x="6855" y="1298"/>
                </a:lnTo>
                <a:lnTo>
                  <a:pt x="6857" y="1296"/>
                </a:lnTo>
                <a:lnTo>
                  <a:pt x="6859" y="1294"/>
                </a:lnTo>
                <a:lnTo>
                  <a:pt x="6859" y="1291"/>
                </a:lnTo>
                <a:lnTo>
                  <a:pt x="6859" y="925"/>
                </a:lnTo>
                <a:lnTo>
                  <a:pt x="6859" y="925"/>
                </a:lnTo>
                <a:lnTo>
                  <a:pt x="6860" y="889"/>
                </a:lnTo>
                <a:lnTo>
                  <a:pt x="6864" y="871"/>
                </a:lnTo>
                <a:lnTo>
                  <a:pt x="6866" y="856"/>
                </a:lnTo>
                <a:lnTo>
                  <a:pt x="6871" y="839"/>
                </a:lnTo>
                <a:lnTo>
                  <a:pt x="6876" y="825"/>
                </a:lnTo>
                <a:lnTo>
                  <a:pt x="6881" y="810"/>
                </a:lnTo>
                <a:lnTo>
                  <a:pt x="6888" y="798"/>
                </a:lnTo>
                <a:lnTo>
                  <a:pt x="6897" y="786"/>
                </a:lnTo>
                <a:lnTo>
                  <a:pt x="6907" y="775"/>
                </a:lnTo>
                <a:lnTo>
                  <a:pt x="6917" y="765"/>
                </a:lnTo>
                <a:lnTo>
                  <a:pt x="6929" y="758"/>
                </a:lnTo>
                <a:lnTo>
                  <a:pt x="6943" y="751"/>
                </a:lnTo>
                <a:lnTo>
                  <a:pt x="6958" y="748"/>
                </a:lnTo>
                <a:lnTo>
                  <a:pt x="6976" y="744"/>
                </a:lnTo>
                <a:lnTo>
                  <a:pt x="6993" y="743"/>
                </a:lnTo>
                <a:lnTo>
                  <a:pt x="6993" y="743"/>
                </a:lnTo>
                <a:lnTo>
                  <a:pt x="7013" y="744"/>
                </a:lnTo>
                <a:lnTo>
                  <a:pt x="7031" y="748"/>
                </a:lnTo>
                <a:lnTo>
                  <a:pt x="7046" y="753"/>
                </a:lnTo>
                <a:lnTo>
                  <a:pt x="7060" y="758"/>
                </a:lnTo>
                <a:lnTo>
                  <a:pt x="7074" y="767"/>
                </a:lnTo>
                <a:lnTo>
                  <a:pt x="7084" y="777"/>
                </a:lnTo>
                <a:lnTo>
                  <a:pt x="7092" y="787"/>
                </a:lnTo>
                <a:lnTo>
                  <a:pt x="7101" y="799"/>
                </a:lnTo>
                <a:lnTo>
                  <a:pt x="7108" y="813"/>
                </a:lnTo>
                <a:lnTo>
                  <a:pt x="7113" y="827"/>
                </a:lnTo>
                <a:lnTo>
                  <a:pt x="7118" y="842"/>
                </a:lnTo>
                <a:lnTo>
                  <a:pt x="7122" y="858"/>
                </a:lnTo>
                <a:lnTo>
                  <a:pt x="7127" y="890"/>
                </a:lnTo>
                <a:lnTo>
                  <a:pt x="7127" y="925"/>
                </a:lnTo>
                <a:lnTo>
                  <a:pt x="7127" y="1291"/>
                </a:lnTo>
                <a:lnTo>
                  <a:pt x="7127" y="1291"/>
                </a:lnTo>
                <a:lnTo>
                  <a:pt x="7128" y="1294"/>
                </a:lnTo>
                <a:lnTo>
                  <a:pt x="7128" y="1296"/>
                </a:lnTo>
                <a:lnTo>
                  <a:pt x="7130" y="1298"/>
                </a:lnTo>
                <a:lnTo>
                  <a:pt x="7134" y="1298"/>
                </a:lnTo>
                <a:lnTo>
                  <a:pt x="7264" y="1298"/>
                </a:lnTo>
                <a:lnTo>
                  <a:pt x="7264" y="1298"/>
                </a:lnTo>
                <a:lnTo>
                  <a:pt x="7268" y="1296"/>
                </a:lnTo>
                <a:lnTo>
                  <a:pt x="7269" y="1294"/>
                </a:lnTo>
                <a:lnTo>
                  <a:pt x="7271" y="1291"/>
                </a:lnTo>
                <a:lnTo>
                  <a:pt x="7271" y="925"/>
                </a:lnTo>
                <a:lnTo>
                  <a:pt x="7271" y="925"/>
                </a:lnTo>
                <a:lnTo>
                  <a:pt x="7273" y="889"/>
                </a:lnTo>
                <a:lnTo>
                  <a:pt x="7276" y="856"/>
                </a:lnTo>
                <a:lnTo>
                  <a:pt x="7280" y="839"/>
                </a:lnTo>
                <a:lnTo>
                  <a:pt x="7285" y="825"/>
                </a:lnTo>
                <a:lnTo>
                  <a:pt x="7290" y="810"/>
                </a:lnTo>
                <a:lnTo>
                  <a:pt x="7297" y="798"/>
                </a:lnTo>
                <a:lnTo>
                  <a:pt x="7305" y="786"/>
                </a:lnTo>
                <a:lnTo>
                  <a:pt x="7314" y="775"/>
                </a:lnTo>
                <a:lnTo>
                  <a:pt x="7324" y="765"/>
                </a:lnTo>
                <a:lnTo>
                  <a:pt x="7338" y="758"/>
                </a:lnTo>
                <a:lnTo>
                  <a:pt x="7352" y="751"/>
                </a:lnTo>
                <a:lnTo>
                  <a:pt x="7367" y="748"/>
                </a:lnTo>
                <a:lnTo>
                  <a:pt x="7384" y="744"/>
                </a:lnTo>
                <a:lnTo>
                  <a:pt x="7403" y="743"/>
                </a:lnTo>
                <a:lnTo>
                  <a:pt x="7403" y="743"/>
                </a:lnTo>
                <a:lnTo>
                  <a:pt x="7424" y="744"/>
                </a:lnTo>
                <a:lnTo>
                  <a:pt x="7441" y="748"/>
                </a:lnTo>
                <a:lnTo>
                  <a:pt x="7457" y="753"/>
                </a:lnTo>
                <a:lnTo>
                  <a:pt x="7472" y="760"/>
                </a:lnTo>
                <a:lnTo>
                  <a:pt x="7484" y="767"/>
                </a:lnTo>
                <a:lnTo>
                  <a:pt x="7494" y="777"/>
                </a:lnTo>
                <a:lnTo>
                  <a:pt x="7505" y="789"/>
                </a:lnTo>
                <a:lnTo>
                  <a:pt x="7513" y="801"/>
                </a:lnTo>
                <a:lnTo>
                  <a:pt x="7520" y="813"/>
                </a:lnTo>
                <a:lnTo>
                  <a:pt x="7525" y="828"/>
                </a:lnTo>
                <a:lnTo>
                  <a:pt x="7531" y="842"/>
                </a:lnTo>
                <a:lnTo>
                  <a:pt x="7534" y="859"/>
                </a:lnTo>
                <a:lnTo>
                  <a:pt x="7537" y="892"/>
                </a:lnTo>
                <a:lnTo>
                  <a:pt x="7539" y="925"/>
                </a:lnTo>
                <a:lnTo>
                  <a:pt x="7539" y="1291"/>
                </a:lnTo>
                <a:lnTo>
                  <a:pt x="7539" y="1291"/>
                </a:lnTo>
                <a:lnTo>
                  <a:pt x="7539" y="1294"/>
                </a:lnTo>
                <a:lnTo>
                  <a:pt x="7541" y="1296"/>
                </a:lnTo>
                <a:lnTo>
                  <a:pt x="7543" y="1298"/>
                </a:lnTo>
                <a:lnTo>
                  <a:pt x="7546" y="1298"/>
                </a:lnTo>
                <a:lnTo>
                  <a:pt x="7673" y="1298"/>
                </a:lnTo>
                <a:lnTo>
                  <a:pt x="7673" y="1298"/>
                </a:lnTo>
                <a:lnTo>
                  <a:pt x="7677" y="1298"/>
                </a:lnTo>
                <a:lnTo>
                  <a:pt x="7678" y="1296"/>
                </a:lnTo>
                <a:lnTo>
                  <a:pt x="7680" y="1294"/>
                </a:lnTo>
                <a:lnTo>
                  <a:pt x="7680" y="1291"/>
                </a:lnTo>
                <a:lnTo>
                  <a:pt x="7680" y="921"/>
                </a:lnTo>
                <a:lnTo>
                  <a:pt x="7680" y="921"/>
                </a:lnTo>
                <a:lnTo>
                  <a:pt x="7680" y="883"/>
                </a:lnTo>
                <a:lnTo>
                  <a:pt x="7677" y="849"/>
                </a:lnTo>
                <a:lnTo>
                  <a:pt x="7671" y="818"/>
                </a:lnTo>
                <a:lnTo>
                  <a:pt x="7663" y="787"/>
                </a:lnTo>
                <a:lnTo>
                  <a:pt x="7654" y="760"/>
                </a:lnTo>
                <a:lnTo>
                  <a:pt x="7642" y="734"/>
                </a:lnTo>
                <a:lnTo>
                  <a:pt x="7628" y="712"/>
                </a:lnTo>
                <a:lnTo>
                  <a:pt x="7613" y="691"/>
                </a:lnTo>
                <a:lnTo>
                  <a:pt x="7594" y="672"/>
                </a:lnTo>
                <a:lnTo>
                  <a:pt x="7575" y="657"/>
                </a:lnTo>
                <a:lnTo>
                  <a:pt x="7553" y="645"/>
                </a:lnTo>
                <a:lnTo>
                  <a:pt x="7529" y="633"/>
                </a:lnTo>
                <a:lnTo>
                  <a:pt x="7505" y="624"/>
                </a:lnTo>
                <a:lnTo>
                  <a:pt x="7477" y="619"/>
                </a:lnTo>
                <a:lnTo>
                  <a:pt x="7448" y="614"/>
                </a:lnTo>
                <a:lnTo>
                  <a:pt x="7417" y="614"/>
                </a:lnTo>
                <a:lnTo>
                  <a:pt x="7417" y="614"/>
                </a:lnTo>
                <a:close/>
                <a:moveTo>
                  <a:pt x="5867" y="627"/>
                </a:moveTo>
                <a:lnTo>
                  <a:pt x="5739" y="627"/>
                </a:lnTo>
                <a:lnTo>
                  <a:pt x="5739" y="627"/>
                </a:lnTo>
                <a:lnTo>
                  <a:pt x="5735" y="627"/>
                </a:lnTo>
                <a:lnTo>
                  <a:pt x="5733" y="629"/>
                </a:lnTo>
                <a:lnTo>
                  <a:pt x="5732" y="631"/>
                </a:lnTo>
                <a:lnTo>
                  <a:pt x="5732" y="633"/>
                </a:lnTo>
                <a:lnTo>
                  <a:pt x="5732" y="1291"/>
                </a:lnTo>
                <a:lnTo>
                  <a:pt x="5732" y="1291"/>
                </a:lnTo>
                <a:lnTo>
                  <a:pt x="5732" y="1294"/>
                </a:lnTo>
                <a:lnTo>
                  <a:pt x="5733" y="1296"/>
                </a:lnTo>
                <a:lnTo>
                  <a:pt x="5735" y="1298"/>
                </a:lnTo>
                <a:lnTo>
                  <a:pt x="5739" y="1298"/>
                </a:lnTo>
                <a:lnTo>
                  <a:pt x="5867" y="1298"/>
                </a:lnTo>
                <a:lnTo>
                  <a:pt x="5867" y="1298"/>
                </a:lnTo>
                <a:lnTo>
                  <a:pt x="5871" y="1298"/>
                </a:lnTo>
                <a:lnTo>
                  <a:pt x="5873" y="1296"/>
                </a:lnTo>
                <a:lnTo>
                  <a:pt x="5874" y="1294"/>
                </a:lnTo>
                <a:lnTo>
                  <a:pt x="5874" y="1291"/>
                </a:lnTo>
                <a:lnTo>
                  <a:pt x="5874" y="633"/>
                </a:lnTo>
                <a:lnTo>
                  <a:pt x="5874" y="633"/>
                </a:lnTo>
                <a:lnTo>
                  <a:pt x="5874" y="631"/>
                </a:lnTo>
                <a:lnTo>
                  <a:pt x="5873" y="629"/>
                </a:lnTo>
                <a:lnTo>
                  <a:pt x="5871" y="627"/>
                </a:lnTo>
                <a:lnTo>
                  <a:pt x="5867" y="627"/>
                </a:lnTo>
                <a:lnTo>
                  <a:pt x="5867" y="627"/>
                </a:lnTo>
                <a:close/>
                <a:moveTo>
                  <a:pt x="5804" y="368"/>
                </a:moveTo>
                <a:lnTo>
                  <a:pt x="5804" y="368"/>
                </a:lnTo>
                <a:lnTo>
                  <a:pt x="5785" y="370"/>
                </a:lnTo>
                <a:lnTo>
                  <a:pt x="5769" y="375"/>
                </a:lnTo>
                <a:lnTo>
                  <a:pt x="5754" y="382"/>
                </a:lnTo>
                <a:lnTo>
                  <a:pt x="5742" y="392"/>
                </a:lnTo>
                <a:lnTo>
                  <a:pt x="5732" y="406"/>
                </a:lnTo>
                <a:lnTo>
                  <a:pt x="5723" y="419"/>
                </a:lnTo>
                <a:lnTo>
                  <a:pt x="5718" y="437"/>
                </a:lnTo>
                <a:lnTo>
                  <a:pt x="5716" y="454"/>
                </a:lnTo>
                <a:lnTo>
                  <a:pt x="5716" y="454"/>
                </a:lnTo>
                <a:lnTo>
                  <a:pt x="5718" y="471"/>
                </a:lnTo>
                <a:lnTo>
                  <a:pt x="5723" y="486"/>
                </a:lnTo>
                <a:lnTo>
                  <a:pt x="5732" y="502"/>
                </a:lnTo>
                <a:lnTo>
                  <a:pt x="5742" y="514"/>
                </a:lnTo>
                <a:lnTo>
                  <a:pt x="5754" y="524"/>
                </a:lnTo>
                <a:lnTo>
                  <a:pt x="5769" y="533"/>
                </a:lnTo>
                <a:lnTo>
                  <a:pt x="5785" y="538"/>
                </a:lnTo>
                <a:lnTo>
                  <a:pt x="5804" y="540"/>
                </a:lnTo>
                <a:lnTo>
                  <a:pt x="5804" y="540"/>
                </a:lnTo>
                <a:lnTo>
                  <a:pt x="5821" y="538"/>
                </a:lnTo>
                <a:lnTo>
                  <a:pt x="5836" y="533"/>
                </a:lnTo>
                <a:lnTo>
                  <a:pt x="5852" y="524"/>
                </a:lnTo>
                <a:lnTo>
                  <a:pt x="5864" y="514"/>
                </a:lnTo>
                <a:lnTo>
                  <a:pt x="5874" y="502"/>
                </a:lnTo>
                <a:lnTo>
                  <a:pt x="5883" y="486"/>
                </a:lnTo>
                <a:lnTo>
                  <a:pt x="5888" y="471"/>
                </a:lnTo>
                <a:lnTo>
                  <a:pt x="5890" y="454"/>
                </a:lnTo>
                <a:lnTo>
                  <a:pt x="5890" y="454"/>
                </a:lnTo>
                <a:lnTo>
                  <a:pt x="5888" y="437"/>
                </a:lnTo>
                <a:lnTo>
                  <a:pt x="5883" y="419"/>
                </a:lnTo>
                <a:lnTo>
                  <a:pt x="5874" y="406"/>
                </a:lnTo>
                <a:lnTo>
                  <a:pt x="5864" y="392"/>
                </a:lnTo>
                <a:lnTo>
                  <a:pt x="5852" y="382"/>
                </a:lnTo>
                <a:lnTo>
                  <a:pt x="5836" y="375"/>
                </a:lnTo>
                <a:lnTo>
                  <a:pt x="5821" y="370"/>
                </a:lnTo>
                <a:lnTo>
                  <a:pt x="5804" y="368"/>
                </a:lnTo>
                <a:lnTo>
                  <a:pt x="5804" y="368"/>
                </a:lnTo>
                <a:close/>
                <a:moveTo>
                  <a:pt x="967" y="0"/>
                </a:moveTo>
                <a:lnTo>
                  <a:pt x="967" y="0"/>
                </a:lnTo>
                <a:lnTo>
                  <a:pt x="917" y="0"/>
                </a:lnTo>
                <a:lnTo>
                  <a:pt x="868" y="5"/>
                </a:lnTo>
                <a:lnTo>
                  <a:pt x="820" y="10"/>
                </a:lnTo>
                <a:lnTo>
                  <a:pt x="771" y="19"/>
                </a:lnTo>
                <a:lnTo>
                  <a:pt x="725" y="29"/>
                </a:lnTo>
                <a:lnTo>
                  <a:pt x="679" y="43"/>
                </a:lnTo>
                <a:lnTo>
                  <a:pt x="634" y="58"/>
                </a:lnTo>
                <a:lnTo>
                  <a:pt x="591" y="76"/>
                </a:lnTo>
                <a:lnTo>
                  <a:pt x="548" y="95"/>
                </a:lnTo>
                <a:lnTo>
                  <a:pt x="505" y="117"/>
                </a:lnTo>
                <a:lnTo>
                  <a:pt x="466" y="139"/>
                </a:lnTo>
                <a:lnTo>
                  <a:pt x="426" y="165"/>
                </a:lnTo>
                <a:lnTo>
                  <a:pt x="388" y="193"/>
                </a:lnTo>
                <a:lnTo>
                  <a:pt x="352" y="220"/>
                </a:lnTo>
                <a:lnTo>
                  <a:pt x="316" y="251"/>
                </a:lnTo>
                <a:lnTo>
                  <a:pt x="283" y="284"/>
                </a:lnTo>
                <a:lnTo>
                  <a:pt x="251" y="316"/>
                </a:lnTo>
                <a:lnTo>
                  <a:pt x="220" y="352"/>
                </a:lnTo>
                <a:lnTo>
                  <a:pt x="192" y="388"/>
                </a:lnTo>
                <a:lnTo>
                  <a:pt x="165" y="426"/>
                </a:lnTo>
                <a:lnTo>
                  <a:pt x="139" y="466"/>
                </a:lnTo>
                <a:lnTo>
                  <a:pt x="117" y="505"/>
                </a:lnTo>
                <a:lnTo>
                  <a:pt x="94" y="548"/>
                </a:lnTo>
                <a:lnTo>
                  <a:pt x="76" y="591"/>
                </a:lnTo>
                <a:lnTo>
                  <a:pt x="58" y="634"/>
                </a:lnTo>
                <a:lnTo>
                  <a:pt x="43" y="679"/>
                </a:lnTo>
                <a:lnTo>
                  <a:pt x="29" y="725"/>
                </a:lnTo>
                <a:lnTo>
                  <a:pt x="19" y="772"/>
                </a:lnTo>
                <a:lnTo>
                  <a:pt x="10" y="820"/>
                </a:lnTo>
                <a:lnTo>
                  <a:pt x="5" y="868"/>
                </a:lnTo>
                <a:lnTo>
                  <a:pt x="0" y="918"/>
                </a:lnTo>
                <a:lnTo>
                  <a:pt x="0" y="968"/>
                </a:lnTo>
                <a:lnTo>
                  <a:pt x="0" y="968"/>
                </a:lnTo>
                <a:lnTo>
                  <a:pt x="0" y="1018"/>
                </a:lnTo>
                <a:lnTo>
                  <a:pt x="5" y="1067"/>
                </a:lnTo>
                <a:lnTo>
                  <a:pt x="10" y="1116"/>
                </a:lnTo>
                <a:lnTo>
                  <a:pt x="19" y="1162"/>
                </a:lnTo>
                <a:lnTo>
                  <a:pt x="29" y="1210"/>
                </a:lnTo>
                <a:lnTo>
                  <a:pt x="43" y="1255"/>
                </a:lnTo>
                <a:lnTo>
                  <a:pt x="58" y="1301"/>
                </a:lnTo>
                <a:lnTo>
                  <a:pt x="76" y="1344"/>
                </a:lnTo>
                <a:lnTo>
                  <a:pt x="94" y="1387"/>
                </a:lnTo>
                <a:lnTo>
                  <a:pt x="117" y="1428"/>
                </a:lnTo>
                <a:lnTo>
                  <a:pt x="139" y="1470"/>
                </a:lnTo>
                <a:lnTo>
                  <a:pt x="165" y="1509"/>
                </a:lnTo>
                <a:lnTo>
                  <a:pt x="192" y="1547"/>
                </a:lnTo>
                <a:lnTo>
                  <a:pt x="220" y="1583"/>
                </a:lnTo>
                <a:lnTo>
                  <a:pt x="251" y="1619"/>
                </a:lnTo>
                <a:lnTo>
                  <a:pt x="283" y="1652"/>
                </a:lnTo>
                <a:lnTo>
                  <a:pt x="316" y="1684"/>
                </a:lnTo>
                <a:lnTo>
                  <a:pt x="352" y="1715"/>
                </a:lnTo>
                <a:lnTo>
                  <a:pt x="388" y="1743"/>
                </a:lnTo>
                <a:lnTo>
                  <a:pt x="426" y="1770"/>
                </a:lnTo>
                <a:lnTo>
                  <a:pt x="466" y="1796"/>
                </a:lnTo>
                <a:lnTo>
                  <a:pt x="505" y="1819"/>
                </a:lnTo>
                <a:lnTo>
                  <a:pt x="548" y="1841"/>
                </a:lnTo>
                <a:lnTo>
                  <a:pt x="591" y="1860"/>
                </a:lnTo>
                <a:lnTo>
                  <a:pt x="634" y="1877"/>
                </a:lnTo>
                <a:lnTo>
                  <a:pt x="679" y="1892"/>
                </a:lnTo>
                <a:lnTo>
                  <a:pt x="725" y="1904"/>
                </a:lnTo>
                <a:lnTo>
                  <a:pt x="771" y="1916"/>
                </a:lnTo>
                <a:lnTo>
                  <a:pt x="820" y="1925"/>
                </a:lnTo>
                <a:lnTo>
                  <a:pt x="868" y="1930"/>
                </a:lnTo>
                <a:lnTo>
                  <a:pt x="917" y="1934"/>
                </a:lnTo>
                <a:lnTo>
                  <a:pt x="967" y="1935"/>
                </a:lnTo>
                <a:lnTo>
                  <a:pt x="967" y="1935"/>
                </a:lnTo>
                <a:lnTo>
                  <a:pt x="1017" y="1934"/>
                </a:lnTo>
                <a:lnTo>
                  <a:pt x="1067" y="1930"/>
                </a:lnTo>
                <a:lnTo>
                  <a:pt x="1115" y="1925"/>
                </a:lnTo>
                <a:lnTo>
                  <a:pt x="1161" y="1916"/>
                </a:lnTo>
                <a:lnTo>
                  <a:pt x="1210" y="1904"/>
                </a:lnTo>
                <a:lnTo>
                  <a:pt x="1254" y="1892"/>
                </a:lnTo>
                <a:lnTo>
                  <a:pt x="1301" y="1877"/>
                </a:lnTo>
                <a:lnTo>
                  <a:pt x="1344" y="1860"/>
                </a:lnTo>
                <a:lnTo>
                  <a:pt x="1387" y="1841"/>
                </a:lnTo>
                <a:lnTo>
                  <a:pt x="1428" y="1819"/>
                </a:lnTo>
                <a:lnTo>
                  <a:pt x="1469" y="1796"/>
                </a:lnTo>
                <a:lnTo>
                  <a:pt x="1509" y="1770"/>
                </a:lnTo>
                <a:lnTo>
                  <a:pt x="1546" y="1743"/>
                </a:lnTo>
                <a:lnTo>
                  <a:pt x="1582" y="1715"/>
                </a:lnTo>
                <a:lnTo>
                  <a:pt x="1618" y="1684"/>
                </a:lnTo>
                <a:lnTo>
                  <a:pt x="1651" y="1652"/>
                </a:lnTo>
                <a:lnTo>
                  <a:pt x="1684" y="1619"/>
                </a:lnTo>
                <a:lnTo>
                  <a:pt x="1715" y="1583"/>
                </a:lnTo>
                <a:lnTo>
                  <a:pt x="1742" y="1547"/>
                </a:lnTo>
                <a:lnTo>
                  <a:pt x="1770" y="1509"/>
                </a:lnTo>
                <a:lnTo>
                  <a:pt x="1795" y="1470"/>
                </a:lnTo>
                <a:lnTo>
                  <a:pt x="1818" y="1428"/>
                </a:lnTo>
                <a:lnTo>
                  <a:pt x="1840" y="1387"/>
                </a:lnTo>
                <a:lnTo>
                  <a:pt x="1859" y="1344"/>
                </a:lnTo>
                <a:lnTo>
                  <a:pt x="1876" y="1301"/>
                </a:lnTo>
                <a:lnTo>
                  <a:pt x="1892" y="1255"/>
                </a:lnTo>
                <a:lnTo>
                  <a:pt x="1904" y="1210"/>
                </a:lnTo>
                <a:lnTo>
                  <a:pt x="1916" y="1162"/>
                </a:lnTo>
                <a:lnTo>
                  <a:pt x="1924" y="1116"/>
                </a:lnTo>
                <a:lnTo>
                  <a:pt x="1929" y="1067"/>
                </a:lnTo>
                <a:lnTo>
                  <a:pt x="1933" y="1018"/>
                </a:lnTo>
                <a:lnTo>
                  <a:pt x="1935" y="968"/>
                </a:lnTo>
                <a:lnTo>
                  <a:pt x="1935" y="968"/>
                </a:lnTo>
                <a:lnTo>
                  <a:pt x="1933" y="918"/>
                </a:lnTo>
                <a:lnTo>
                  <a:pt x="1929" y="868"/>
                </a:lnTo>
                <a:lnTo>
                  <a:pt x="1924" y="820"/>
                </a:lnTo>
                <a:lnTo>
                  <a:pt x="1916" y="772"/>
                </a:lnTo>
                <a:lnTo>
                  <a:pt x="1904" y="725"/>
                </a:lnTo>
                <a:lnTo>
                  <a:pt x="1892" y="679"/>
                </a:lnTo>
                <a:lnTo>
                  <a:pt x="1876" y="634"/>
                </a:lnTo>
                <a:lnTo>
                  <a:pt x="1859" y="591"/>
                </a:lnTo>
                <a:lnTo>
                  <a:pt x="1840" y="548"/>
                </a:lnTo>
                <a:lnTo>
                  <a:pt x="1818" y="505"/>
                </a:lnTo>
                <a:lnTo>
                  <a:pt x="1795" y="466"/>
                </a:lnTo>
                <a:lnTo>
                  <a:pt x="1770" y="426"/>
                </a:lnTo>
                <a:lnTo>
                  <a:pt x="1742" y="388"/>
                </a:lnTo>
                <a:lnTo>
                  <a:pt x="1715" y="352"/>
                </a:lnTo>
                <a:lnTo>
                  <a:pt x="1684" y="316"/>
                </a:lnTo>
                <a:lnTo>
                  <a:pt x="1651" y="284"/>
                </a:lnTo>
                <a:lnTo>
                  <a:pt x="1618" y="251"/>
                </a:lnTo>
                <a:lnTo>
                  <a:pt x="1582" y="220"/>
                </a:lnTo>
                <a:lnTo>
                  <a:pt x="1546" y="193"/>
                </a:lnTo>
                <a:lnTo>
                  <a:pt x="1509" y="165"/>
                </a:lnTo>
                <a:lnTo>
                  <a:pt x="1469" y="139"/>
                </a:lnTo>
                <a:lnTo>
                  <a:pt x="1428" y="117"/>
                </a:lnTo>
                <a:lnTo>
                  <a:pt x="1387" y="95"/>
                </a:lnTo>
                <a:lnTo>
                  <a:pt x="1344" y="76"/>
                </a:lnTo>
                <a:lnTo>
                  <a:pt x="1301" y="58"/>
                </a:lnTo>
                <a:lnTo>
                  <a:pt x="1254" y="43"/>
                </a:lnTo>
                <a:lnTo>
                  <a:pt x="1210" y="29"/>
                </a:lnTo>
                <a:lnTo>
                  <a:pt x="1161" y="19"/>
                </a:lnTo>
                <a:lnTo>
                  <a:pt x="1115" y="10"/>
                </a:lnTo>
                <a:lnTo>
                  <a:pt x="1067" y="5"/>
                </a:lnTo>
                <a:lnTo>
                  <a:pt x="1017" y="0"/>
                </a:lnTo>
                <a:lnTo>
                  <a:pt x="967" y="0"/>
                </a:lnTo>
                <a:lnTo>
                  <a:pt x="967" y="0"/>
                </a:lnTo>
                <a:close/>
                <a:moveTo>
                  <a:pt x="711" y="1224"/>
                </a:moveTo>
                <a:lnTo>
                  <a:pt x="711" y="1224"/>
                </a:lnTo>
                <a:lnTo>
                  <a:pt x="686" y="1196"/>
                </a:lnTo>
                <a:lnTo>
                  <a:pt x="665" y="1167"/>
                </a:lnTo>
                <a:lnTo>
                  <a:pt x="646" y="1136"/>
                </a:lnTo>
                <a:lnTo>
                  <a:pt x="631" y="1103"/>
                </a:lnTo>
                <a:lnTo>
                  <a:pt x="619" y="1071"/>
                </a:lnTo>
                <a:lnTo>
                  <a:pt x="612" y="1036"/>
                </a:lnTo>
                <a:lnTo>
                  <a:pt x="606" y="1002"/>
                </a:lnTo>
                <a:lnTo>
                  <a:pt x="605" y="968"/>
                </a:lnTo>
                <a:lnTo>
                  <a:pt x="606" y="933"/>
                </a:lnTo>
                <a:lnTo>
                  <a:pt x="612" y="899"/>
                </a:lnTo>
                <a:lnTo>
                  <a:pt x="619" y="865"/>
                </a:lnTo>
                <a:lnTo>
                  <a:pt x="631" y="830"/>
                </a:lnTo>
                <a:lnTo>
                  <a:pt x="646" y="799"/>
                </a:lnTo>
                <a:lnTo>
                  <a:pt x="665" y="768"/>
                </a:lnTo>
                <a:lnTo>
                  <a:pt x="686" y="739"/>
                </a:lnTo>
                <a:lnTo>
                  <a:pt x="711" y="712"/>
                </a:lnTo>
                <a:lnTo>
                  <a:pt x="711" y="712"/>
                </a:lnTo>
                <a:lnTo>
                  <a:pt x="739" y="686"/>
                </a:lnTo>
                <a:lnTo>
                  <a:pt x="768" y="665"/>
                </a:lnTo>
                <a:lnTo>
                  <a:pt x="799" y="646"/>
                </a:lnTo>
                <a:lnTo>
                  <a:pt x="830" y="631"/>
                </a:lnTo>
                <a:lnTo>
                  <a:pt x="864" y="619"/>
                </a:lnTo>
                <a:lnTo>
                  <a:pt x="899" y="612"/>
                </a:lnTo>
                <a:lnTo>
                  <a:pt x="933" y="607"/>
                </a:lnTo>
                <a:lnTo>
                  <a:pt x="967" y="605"/>
                </a:lnTo>
                <a:lnTo>
                  <a:pt x="1002" y="607"/>
                </a:lnTo>
                <a:lnTo>
                  <a:pt x="1036" y="612"/>
                </a:lnTo>
                <a:lnTo>
                  <a:pt x="1070" y="619"/>
                </a:lnTo>
                <a:lnTo>
                  <a:pt x="1103" y="631"/>
                </a:lnTo>
                <a:lnTo>
                  <a:pt x="1136" y="646"/>
                </a:lnTo>
                <a:lnTo>
                  <a:pt x="1167" y="665"/>
                </a:lnTo>
                <a:lnTo>
                  <a:pt x="1196" y="686"/>
                </a:lnTo>
                <a:lnTo>
                  <a:pt x="1223" y="712"/>
                </a:lnTo>
                <a:lnTo>
                  <a:pt x="1223" y="712"/>
                </a:lnTo>
                <a:lnTo>
                  <a:pt x="1249" y="739"/>
                </a:lnTo>
                <a:lnTo>
                  <a:pt x="1270" y="768"/>
                </a:lnTo>
                <a:lnTo>
                  <a:pt x="1289" y="799"/>
                </a:lnTo>
                <a:lnTo>
                  <a:pt x="1304" y="830"/>
                </a:lnTo>
                <a:lnTo>
                  <a:pt x="1314" y="865"/>
                </a:lnTo>
                <a:lnTo>
                  <a:pt x="1323" y="899"/>
                </a:lnTo>
                <a:lnTo>
                  <a:pt x="1328" y="933"/>
                </a:lnTo>
                <a:lnTo>
                  <a:pt x="1330" y="968"/>
                </a:lnTo>
                <a:lnTo>
                  <a:pt x="1328" y="1002"/>
                </a:lnTo>
                <a:lnTo>
                  <a:pt x="1323" y="1036"/>
                </a:lnTo>
                <a:lnTo>
                  <a:pt x="1314" y="1071"/>
                </a:lnTo>
                <a:lnTo>
                  <a:pt x="1304" y="1103"/>
                </a:lnTo>
                <a:lnTo>
                  <a:pt x="1289" y="1136"/>
                </a:lnTo>
                <a:lnTo>
                  <a:pt x="1270" y="1167"/>
                </a:lnTo>
                <a:lnTo>
                  <a:pt x="1249" y="1196"/>
                </a:lnTo>
                <a:lnTo>
                  <a:pt x="1223" y="1224"/>
                </a:lnTo>
                <a:lnTo>
                  <a:pt x="1223" y="1224"/>
                </a:lnTo>
                <a:lnTo>
                  <a:pt x="1196" y="1250"/>
                </a:lnTo>
                <a:lnTo>
                  <a:pt x="1167" y="1270"/>
                </a:lnTo>
                <a:lnTo>
                  <a:pt x="1136" y="1289"/>
                </a:lnTo>
                <a:lnTo>
                  <a:pt x="1103" y="1305"/>
                </a:lnTo>
                <a:lnTo>
                  <a:pt x="1070" y="1315"/>
                </a:lnTo>
                <a:lnTo>
                  <a:pt x="1036" y="1324"/>
                </a:lnTo>
                <a:lnTo>
                  <a:pt x="1002" y="1329"/>
                </a:lnTo>
                <a:lnTo>
                  <a:pt x="967" y="1330"/>
                </a:lnTo>
                <a:lnTo>
                  <a:pt x="933" y="1329"/>
                </a:lnTo>
                <a:lnTo>
                  <a:pt x="899" y="1324"/>
                </a:lnTo>
                <a:lnTo>
                  <a:pt x="864" y="1315"/>
                </a:lnTo>
                <a:lnTo>
                  <a:pt x="830" y="1305"/>
                </a:lnTo>
                <a:lnTo>
                  <a:pt x="799" y="1289"/>
                </a:lnTo>
                <a:lnTo>
                  <a:pt x="768" y="1270"/>
                </a:lnTo>
                <a:lnTo>
                  <a:pt x="739" y="1250"/>
                </a:lnTo>
                <a:lnTo>
                  <a:pt x="711" y="1224"/>
                </a:lnTo>
                <a:lnTo>
                  <a:pt x="711" y="1224"/>
                </a:lnTo>
                <a:close/>
                <a:moveTo>
                  <a:pt x="1438" y="1619"/>
                </a:moveTo>
                <a:lnTo>
                  <a:pt x="1438" y="1619"/>
                </a:lnTo>
                <a:lnTo>
                  <a:pt x="1419" y="1619"/>
                </a:lnTo>
                <a:lnTo>
                  <a:pt x="1400" y="1616"/>
                </a:lnTo>
                <a:lnTo>
                  <a:pt x="1383" y="1612"/>
                </a:lnTo>
                <a:lnTo>
                  <a:pt x="1368" y="1605"/>
                </a:lnTo>
                <a:lnTo>
                  <a:pt x="1350" y="1599"/>
                </a:lnTo>
                <a:lnTo>
                  <a:pt x="1337" y="1588"/>
                </a:lnTo>
                <a:lnTo>
                  <a:pt x="1323" y="1578"/>
                </a:lnTo>
                <a:lnTo>
                  <a:pt x="1309" y="1566"/>
                </a:lnTo>
                <a:lnTo>
                  <a:pt x="1297" y="1554"/>
                </a:lnTo>
                <a:lnTo>
                  <a:pt x="1287" y="1540"/>
                </a:lnTo>
                <a:lnTo>
                  <a:pt x="1278" y="1525"/>
                </a:lnTo>
                <a:lnTo>
                  <a:pt x="1270" y="1509"/>
                </a:lnTo>
                <a:lnTo>
                  <a:pt x="1265" y="1492"/>
                </a:lnTo>
                <a:lnTo>
                  <a:pt x="1259" y="1475"/>
                </a:lnTo>
                <a:lnTo>
                  <a:pt x="1258" y="1458"/>
                </a:lnTo>
                <a:lnTo>
                  <a:pt x="1256" y="1439"/>
                </a:lnTo>
                <a:lnTo>
                  <a:pt x="1256" y="1439"/>
                </a:lnTo>
                <a:lnTo>
                  <a:pt x="1258" y="1420"/>
                </a:lnTo>
                <a:lnTo>
                  <a:pt x="1259" y="1401"/>
                </a:lnTo>
                <a:lnTo>
                  <a:pt x="1265" y="1384"/>
                </a:lnTo>
                <a:lnTo>
                  <a:pt x="1270" y="1368"/>
                </a:lnTo>
                <a:lnTo>
                  <a:pt x="1278" y="1351"/>
                </a:lnTo>
                <a:lnTo>
                  <a:pt x="1287" y="1337"/>
                </a:lnTo>
                <a:lnTo>
                  <a:pt x="1297" y="1324"/>
                </a:lnTo>
                <a:lnTo>
                  <a:pt x="1309" y="1310"/>
                </a:lnTo>
                <a:lnTo>
                  <a:pt x="1323" y="1298"/>
                </a:lnTo>
                <a:lnTo>
                  <a:pt x="1337" y="1287"/>
                </a:lnTo>
                <a:lnTo>
                  <a:pt x="1350" y="1279"/>
                </a:lnTo>
                <a:lnTo>
                  <a:pt x="1368" y="1270"/>
                </a:lnTo>
                <a:lnTo>
                  <a:pt x="1383" y="1265"/>
                </a:lnTo>
                <a:lnTo>
                  <a:pt x="1400" y="1260"/>
                </a:lnTo>
                <a:lnTo>
                  <a:pt x="1419" y="1258"/>
                </a:lnTo>
                <a:lnTo>
                  <a:pt x="1438" y="1256"/>
                </a:lnTo>
                <a:lnTo>
                  <a:pt x="1438" y="1256"/>
                </a:lnTo>
                <a:lnTo>
                  <a:pt x="1457" y="1258"/>
                </a:lnTo>
                <a:lnTo>
                  <a:pt x="1474" y="1260"/>
                </a:lnTo>
                <a:lnTo>
                  <a:pt x="1491" y="1265"/>
                </a:lnTo>
                <a:lnTo>
                  <a:pt x="1509" y="1270"/>
                </a:lnTo>
                <a:lnTo>
                  <a:pt x="1524" y="1279"/>
                </a:lnTo>
                <a:lnTo>
                  <a:pt x="1539" y="1287"/>
                </a:lnTo>
                <a:lnTo>
                  <a:pt x="1553" y="1298"/>
                </a:lnTo>
                <a:lnTo>
                  <a:pt x="1565" y="1310"/>
                </a:lnTo>
                <a:lnTo>
                  <a:pt x="1577" y="1324"/>
                </a:lnTo>
                <a:lnTo>
                  <a:pt x="1588" y="1337"/>
                </a:lnTo>
                <a:lnTo>
                  <a:pt x="1598" y="1351"/>
                </a:lnTo>
                <a:lnTo>
                  <a:pt x="1605" y="1368"/>
                </a:lnTo>
                <a:lnTo>
                  <a:pt x="1612" y="1384"/>
                </a:lnTo>
                <a:lnTo>
                  <a:pt x="1615" y="1401"/>
                </a:lnTo>
                <a:lnTo>
                  <a:pt x="1618" y="1420"/>
                </a:lnTo>
                <a:lnTo>
                  <a:pt x="1618" y="1439"/>
                </a:lnTo>
                <a:lnTo>
                  <a:pt x="1618" y="1439"/>
                </a:lnTo>
                <a:lnTo>
                  <a:pt x="1618" y="1458"/>
                </a:lnTo>
                <a:lnTo>
                  <a:pt x="1615" y="1475"/>
                </a:lnTo>
                <a:lnTo>
                  <a:pt x="1612" y="1492"/>
                </a:lnTo>
                <a:lnTo>
                  <a:pt x="1605" y="1509"/>
                </a:lnTo>
                <a:lnTo>
                  <a:pt x="1598" y="1525"/>
                </a:lnTo>
                <a:lnTo>
                  <a:pt x="1588" y="1540"/>
                </a:lnTo>
                <a:lnTo>
                  <a:pt x="1577" y="1554"/>
                </a:lnTo>
                <a:lnTo>
                  <a:pt x="1565" y="1566"/>
                </a:lnTo>
                <a:lnTo>
                  <a:pt x="1553" y="1578"/>
                </a:lnTo>
                <a:lnTo>
                  <a:pt x="1539" y="1588"/>
                </a:lnTo>
                <a:lnTo>
                  <a:pt x="1524" y="1599"/>
                </a:lnTo>
                <a:lnTo>
                  <a:pt x="1509" y="1605"/>
                </a:lnTo>
                <a:lnTo>
                  <a:pt x="1491" y="1612"/>
                </a:lnTo>
                <a:lnTo>
                  <a:pt x="1474" y="1616"/>
                </a:lnTo>
                <a:lnTo>
                  <a:pt x="1457" y="1619"/>
                </a:lnTo>
                <a:lnTo>
                  <a:pt x="1438" y="1619"/>
                </a:lnTo>
                <a:lnTo>
                  <a:pt x="1438" y="1619"/>
                </a:lnTo>
                <a:close/>
                <a:moveTo>
                  <a:pt x="1823" y="1702"/>
                </a:moveTo>
                <a:lnTo>
                  <a:pt x="1823" y="1702"/>
                </a:lnTo>
                <a:lnTo>
                  <a:pt x="1811" y="1703"/>
                </a:lnTo>
                <a:lnTo>
                  <a:pt x="1799" y="1705"/>
                </a:lnTo>
                <a:lnTo>
                  <a:pt x="1787" y="1709"/>
                </a:lnTo>
                <a:lnTo>
                  <a:pt x="1775" y="1712"/>
                </a:lnTo>
                <a:lnTo>
                  <a:pt x="1765" y="1717"/>
                </a:lnTo>
                <a:lnTo>
                  <a:pt x="1754" y="1722"/>
                </a:lnTo>
                <a:lnTo>
                  <a:pt x="1746" y="1731"/>
                </a:lnTo>
                <a:lnTo>
                  <a:pt x="1737" y="1738"/>
                </a:lnTo>
                <a:lnTo>
                  <a:pt x="1728" y="1746"/>
                </a:lnTo>
                <a:lnTo>
                  <a:pt x="1722" y="1755"/>
                </a:lnTo>
                <a:lnTo>
                  <a:pt x="1716" y="1765"/>
                </a:lnTo>
                <a:lnTo>
                  <a:pt x="1711" y="1776"/>
                </a:lnTo>
                <a:lnTo>
                  <a:pt x="1708" y="1788"/>
                </a:lnTo>
                <a:lnTo>
                  <a:pt x="1704" y="1800"/>
                </a:lnTo>
                <a:lnTo>
                  <a:pt x="1703" y="1812"/>
                </a:lnTo>
                <a:lnTo>
                  <a:pt x="1701" y="1824"/>
                </a:lnTo>
                <a:lnTo>
                  <a:pt x="1701" y="1824"/>
                </a:lnTo>
                <a:lnTo>
                  <a:pt x="1703" y="1836"/>
                </a:lnTo>
                <a:lnTo>
                  <a:pt x="1704" y="1848"/>
                </a:lnTo>
                <a:lnTo>
                  <a:pt x="1708" y="1860"/>
                </a:lnTo>
                <a:lnTo>
                  <a:pt x="1711" y="1870"/>
                </a:lnTo>
                <a:lnTo>
                  <a:pt x="1716" y="1880"/>
                </a:lnTo>
                <a:lnTo>
                  <a:pt x="1722" y="1891"/>
                </a:lnTo>
                <a:lnTo>
                  <a:pt x="1728" y="1901"/>
                </a:lnTo>
                <a:lnTo>
                  <a:pt x="1737" y="1910"/>
                </a:lnTo>
                <a:lnTo>
                  <a:pt x="1746" y="1916"/>
                </a:lnTo>
                <a:lnTo>
                  <a:pt x="1754" y="1923"/>
                </a:lnTo>
                <a:lnTo>
                  <a:pt x="1765" y="1930"/>
                </a:lnTo>
                <a:lnTo>
                  <a:pt x="1775" y="1935"/>
                </a:lnTo>
                <a:lnTo>
                  <a:pt x="1787" y="1939"/>
                </a:lnTo>
                <a:lnTo>
                  <a:pt x="1799" y="1942"/>
                </a:lnTo>
                <a:lnTo>
                  <a:pt x="1811" y="1944"/>
                </a:lnTo>
                <a:lnTo>
                  <a:pt x="1823" y="1944"/>
                </a:lnTo>
                <a:lnTo>
                  <a:pt x="1823" y="1944"/>
                </a:lnTo>
                <a:lnTo>
                  <a:pt x="1835" y="1944"/>
                </a:lnTo>
                <a:lnTo>
                  <a:pt x="1847" y="1942"/>
                </a:lnTo>
                <a:lnTo>
                  <a:pt x="1859" y="1939"/>
                </a:lnTo>
                <a:lnTo>
                  <a:pt x="1869" y="1935"/>
                </a:lnTo>
                <a:lnTo>
                  <a:pt x="1880" y="1930"/>
                </a:lnTo>
                <a:lnTo>
                  <a:pt x="1890" y="1923"/>
                </a:lnTo>
                <a:lnTo>
                  <a:pt x="1900" y="1916"/>
                </a:lnTo>
                <a:lnTo>
                  <a:pt x="1909" y="1910"/>
                </a:lnTo>
                <a:lnTo>
                  <a:pt x="1916" y="1901"/>
                </a:lnTo>
                <a:lnTo>
                  <a:pt x="1923" y="1891"/>
                </a:lnTo>
                <a:lnTo>
                  <a:pt x="1929" y="1880"/>
                </a:lnTo>
                <a:lnTo>
                  <a:pt x="1935" y="1870"/>
                </a:lnTo>
                <a:lnTo>
                  <a:pt x="1938" y="1860"/>
                </a:lnTo>
                <a:lnTo>
                  <a:pt x="1941" y="1848"/>
                </a:lnTo>
                <a:lnTo>
                  <a:pt x="1943" y="1836"/>
                </a:lnTo>
                <a:lnTo>
                  <a:pt x="1943" y="1824"/>
                </a:lnTo>
                <a:lnTo>
                  <a:pt x="1943" y="1824"/>
                </a:lnTo>
                <a:lnTo>
                  <a:pt x="1943" y="1812"/>
                </a:lnTo>
                <a:lnTo>
                  <a:pt x="1941" y="1800"/>
                </a:lnTo>
                <a:lnTo>
                  <a:pt x="1938" y="1788"/>
                </a:lnTo>
                <a:lnTo>
                  <a:pt x="1935" y="1776"/>
                </a:lnTo>
                <a:lnTo>
                  <a:pt x="1929" y="1765"/>
                </a:lnTo>
                <a:lnTo>
                  <a:pt x="1923" y="1755"/>
                </a:lnTo>
                <a:lnTo>
                  <a:pt x="1916" y="1746"/>
                </a:lnTo>
                <a:lnTo>
                  <a:pt x="1909" y="1738"/>
                </a:lnTo>
                <a:lnTo>
                  <a:pt x="1900" y="1731"/>
                </a:lnTo>
                <a:lnTo>
                  <a:pt x="1890" y="1722"/>
                </a:lnTo>
                <a:lnTo>
                  <a:pt x="1880" y="1717"/>
                </a:lnTo>
                <a:lnTo>
                  <a:pt x="1869" y="1712"/>
                </a:lnTo>
                <a:lnTo>
                  <a:pt x="1859" y="1709"/>
                </a:lnTo>
                <a:lnTo>
                  <a:pt x="1847" y="1705"/>
                </a:lnTo>
                <a:lnTo>
                  <a:pt x="1835" y="1703"/>
                </a:lnTo>
                <a:lnTo>
                  <a:pt x="1823" y="1702"/>
                </a:lnTo>
                <a:lnTo>
                  <a:pt x="1823" y="1702"/>
                </a:lnTo>
                <a:close/>
              </a:path>
            </a:pathLst>
          </a:custGeom>
          <a:solidFill>
            <a:srgbClr val="00000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 name="Content Placeholder 2">
            <a:extLst>
              <a:ext uri="{FF2B5EF4-FFF2-40B4-BE49-F238E27FC236}">
                <a16:creationId xmlns:a16="http://schemas.microsoft.com/office/drawing/2014/main" id="{880A4622-DE2D-4E3A-9746-1E39B7A82C30}"/>
              </a:ext>
            </a:extLst>
          </p:cNvPr>
          <p:cNvSpPr>
            <a:spLocks noGrp="1"/>
          </p:cNvSpPr>
          <p:nvPr>
            <p:ph idx="1" hasCustomPrompt="1"/>
          </p:nvPr>
        </p:nvSpPr>
        <p:spPr>
          <a:xfrm>
            <a:off x="972542" y="453373"/>
            <a:ext cx="8515945" cy="830681"/>
          </a:xfrm>
          <a:prstGeom prst="rect">
            <a:avLst/>
          </a:prstGeom>
        </p:spPr>
        <p:txBody>
          <a:bodyPr lIns="0" tIns="0">
            <a:noAutofit/>
          </a:bodyPr>
          <a:lstStyle>
            <a:lvl1pPr marL="0" indent="0">
              <a:lnSpc>
                <a:spcPct val="100000"/>
              </a:lnSpc>
              <a:buFontTx/>
              <a:buNone/>
              <a:defRPr sz="2400"/>
            </a:lvl1pPr>
            <a:lvl2pPr marL="371475" indent="0">
              <a:buFontTx/>
              <a:buNone/>
              <a:defRPr/>
            </a:lvl2pPr>
            <a:lvl3pPr marL="742950" indent="0">
              <a:buFontTx/>
              <a:buNone/>
              <a:defRPr/>
            </a:lvl3pPr>
            <a:lvl4pPr marL="1114425" indent="0">
              <a:buFontTx/>
              <a:buNone/>
              <a:defRPr/>
            </a:lvl4pPr>
            <a:lvl5pPr marL="1485900" indent="0">
              <a:buFontTx/>
              <a:buNone/>
              <a:defRPr/>
            </a:lvl5pPr>
          </a:lstStyle>
          <a:p>
            <a:pPr lvl="0"/>
            <a:r>
              <a:rPr lang="en-AU"/>
              <a:t>Insert page heading (max two lines)</a:t>
            </a:r>
            <a:endParaRPr lang="en-US"/>
          </a:p>
        </p:txBody>
      </p:sp>
      <p:sp>
        <p:nvSpPr>
          <p:cNvPr id="7" name="TextBox 6">
            <a:extLst>
              <a:ext uri="{FF2B5EF4-FFF2-40B4-BE49-F238E27FC236}">
                <a16:creationId xmlns:a16="http://schemas.microsoft.com/office/drawing/2014/main" id="{049E4A75-A4F9-458A-BDE3-57955077B8BA}"/>
              </a:ext>
            </a:extLst>
          </p:cNvPr>
          <p:cNvSpPr txBox="1"/>
          <p:nvPr/>
        </p:nvSpPr>
        <p:spPr>
          <a:xfrm>
            <a:off x="1489075" y="6470371"/>
            <a:ext cx="914400" cy="151091"/>
          </a:xfrm>
          <a:prstGeom prst="rect">
            <a:avLst/>
          </a:prstGeom>
          <a:noFill/>
        </p:spPr>
        <p:txBody>
          <a:bodyPr wrap="none" lIns="0" tIns="0" rIns="0" bIns="0" rtlCol="0" anchor="ctr">
            <a:noAutofit/>
          </a:bodyPr>
          <a:lstStyle/>
          <a:p>
            <a:pPr algn="r"/>
            <a:r>
              <a:rPr lang="en-AU" sz="1050">
                <a:latin typeface="Roboto Light" panose="02000000000000000000" pitchFamily="2" charset="0"/>
                <a:ea typeface="Roboto Light" panose="02000000000000000000" pitchFamily="2" charset="0"/>
              </a:rPr>
              <a:t>health outcomes</a:t>
            </a:r>
          </a:p>
        </p:txBody>
      </p:sp>
    </p:spTree>
    <p:extLst>
      <p:ext uri="{BB962C8B-B14F-4D97-AF65-F5344CB8AC3E}">
        <p14:creationId xmlns:p14="http://schemas.microsoft.com/office/powerpoint/2010/main" val="11765511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Appendix">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D73BB3A-5B33-43E0-BBD3-25D9431D89FD}"/>
              </a:ext>
            </a:extLst>
          </p:cNvPr>
          <p:cNvSpPr/>
          <p:nvPr/>
        </p:nvSpPr>
        <p:spPr>
          <a:xfrm>
            <a:off x="594360" y="0"/>
            <a:ext cx="9311640" cy="6858000"/>
          </a:xfrm>
          <a:prstGeom prst="rect">
            <a:avLst/>
          </a:prstGeom>
          <a:solidFill>
            <a:srgbClr val="ECE8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38" err="1">
              <a:solidFill>
                <a:srgbClr val="000005"/>
              </a:solidFill>
              <a:latin typeface="Roboto Light" panose="02000000000000000000" pitchFamily="2" charset="0"/>
              <a:ea typeface="Roboto Light" panose="02000000000000000000" pitchFamily="2" charset="0"/>
            </a:endParaRPr>
          </a:p>
        </p:txBody>
      </p:sp>
      <p:sp>
        <p:nvSpPr>
          <p:cNvPr id="5" name="TextBox 4">
            <a:extLst>
              <a:ext uri="{FF2B5EF4-FFF2-40B4-BE49-F238E27FC236}">
                <a16:creationId xmlns:a16="http://schemas.microsoft.com/office/drawing/2014/main" id="{E20BF5BA-192F-4208-B21B-27AF72108DA2}"/>
              </a:ext>
            </a:extLst>
          </p:cNvPr>
          <p:cNvSpPr txBox="1"/>
          <p:nvPr/>
        </p:nvSpPr>
        <p:spPr>
          <a:xfrm>
            <a:off x="980281" y="2622664"/>
            <a:ext cx="5011536" cy="806336"/>
          </a:xfrm>
          <a:prstGeom prst="rect">
            <a:avLst/>
          </a:prstGeom>
          <a:noFill/>
        </p:spPr>
        <p:txBody>
          <a:bodyPr wrap="square" lIns="0" tIns="0" rIns="0" bIns="0" rtlCol="0" anchor="ctr">
            <a:noAutofit/>
          </a:bodyPr>
          <a:lstStyle/>
          <a:p>
            <a:pPr algn="l"/>
            <a:r>
              <a:rPr lang="en-AU" sz="2400">
                <a:latin typeface="Roboto Light" panose="02000000000000000000" pitchFamily="2" charset="0"/>
                <a:ea typeface="Roboto Light" panose="02000000000000000000" pitchFamily="2" charset="0"/>
              </a:rPr>
              <a:t>Appendix</a:t>
            </a:r>
          </a:p>
        </p:txBody>
      </p:sp>
      <p:sp>
        <p:nvSpPr>
          <p:cNvPr id="6" name="Freeform 5">
            <a:extLst>
              <a:ext uri="{FF2B5EF4-FFF2-40B4-BE49-F238E27FC236}">
                <a16:creationId xmlns:a16="http://schemas.microsoft.com/office/drawing/2014/main" id="{9063A78A-6F06-45BB-A76B-0432FE1A834E}"/>
              </a:ext>
            </a:extLst>
          </p:cNvPr>
          <p:cNvSpPr>
            <a:spLocks noEditPoints="1"/>
          </p:cNvSpPr>
          <p:nvPr/>
        </p:nvSpPr>
        <p:spPr bwMode="auto">
          <a:xfrm>
            <a:off x="981075" y="6197254"/>
            <a:ext cx="1422400" cy="360045"/>
          </a:xfrm>
          <a:custGeom>
            <a:avLst/>
            <a:gdLst>
              <a:gd name="T0" fmla="*/ 2610 w 7680"/>
              <a:gd name="T1" fmla="*/ 614 h 1944"/>
              <a:gd name="T2" fmla="*/ 2335 w 7680"/>
              <a:gd name="T3" fmla="*/ 1134 h 1944"/>
              <a:gd name="T4" fmla="*/ 2792 w 7680"/>
              <a:gd name="T5" fmla="*/ 1241 h 1944"/>
              <a:gd name="T6" fmla="*/ 2938 w 7680"/>
              <a:gd name="T7" fmla="*/ 627 h 1944"/>
              <a:gd name="T8" fmla="*/ 2445 w 7680"/>
              <a:gd name="T9" fmla="*/ 916 h 1944"/>
              <a:gd name="T10" fmla="*/ 2747 w 7680"/>
              <a:gd name="T11" fmla="*/ 791 h 1944"/>
              <a:gd name="T12" fmla="*/ 2704 w 7680"/>
              <a:gd name="T13" fmla="*/ 1165 h 1944"/>
              <a:gd name="T14" fmla="*/ 3472 w 7680"/>
              <a:gd name="T15" fmla="*/ 1126 h 1944"/>
              <a:gd name="T16" fmla="*/ 3196 w 7680"/>
              <a:gd name="T17" fmla="*/ 1047 h 1944"/>
              <a:gd name="T18" fmla="*/ 3074 w 7680"/>
              <a:gd name="T19" fmla="*/ 1145 h 1944"/>
              <a:gd name="T20" fmla="*/ 3502 w 7680"/>
              <a:gd name="T21" fmla="*/ 1238 h 1944"/>
              <a:gd name="T22" fmla="*/ 4441 w 7680"/>
              <a:gd name="T23" fmla="*/ 1176 h 1944"/>
              <a:gd name="T24" fmla="*/ 4244 w 7680"/>
              <a:gd name="T25" fmla="*/ 648 h 1944"/>
              <a:gd name="T26" fmla="*/ 3778 w 7680"/>
              <a:gd name="T27" fmla="*/ 818 h 1944"/>
              <a:gd name="T28" fmla="*/ 3974 w 7680"/>
              <a:gd name="T29" fmla="*/ 761 h 1944"/>
              <a:gd name="T30" fmla="*/ 4223 w 7680"/>
              <a:gd name="T31" fmla="*/ 854 h 1944"/>
              <a:gd name="T32" fmla="*/ 3773 w 7680"/>
              <a:gd name="T33" fmla="*/ 1018 h 1944"/>
              <a:gd name="T34" fmla="*/ 4019 w 7680"/>
              <a:gd name="T35" fmla="*/ 1311 h 1944"/>
              <a:gd name="T36" fmla="*/ 4388 w 7680"/>
              <a:gd name="T37" fmla="*/ 1298 h 1944"/>
              <a:gd name="T38" fmla="*/ 4187 w 7680"/>
              <a:gd name="T39" fmla="*/ 1119 h 1944"/>
              <a:gd name="T40" fmla="*/ 3898 w 7680"/>
              <a:gd name="T41" fmla="*/ 1114 h 1944"/>
              <a:gd name="T42" fmla="*/ 4223 w 7680"/>
              <a:gd name="T43" fmla="*/ 1012 h 1944"/>
              <a:gd name="T44" fmla="*/ 4553 w 7680"/>
              <a:gd name="T45" fmla="*/ 627 h 1944"/>
              <a:gd name="T46" fmla="*/ 4694 w 7680"/>
              <a:gd name="T47" fmla="*/ 871 h 1944"/>
              <a:gd name="T48" fmla="*/ 4974 w 7680"/>
              <a:gd name="T49" fmla="*/ 801 h 1944"/>
              <a:gd name="T50" fmla="*/ 5154 w 7680"/>
              <a:gd name="T51" fmla="*/ 928 h 1944"/>
              <a:gd name="T52" fmla="*/ 5470 w 7680"/>
              <a:gd name="T53" fmla="*/ 624 h 1944"/>
              <a:gd name="T54" fmla="*/ 5206 w 7680"/>
              <a:gd name="T55" fmla="*/ 627 h 1944"/>
              <a:gd name="T56" fmla="*/ 5335 w 7680"/>
              <a:gd name="T57" fmla="*/ 1196 h 1944"/>
              <a:gd name="T58" fmla="*/ 5618 w 7680"/>
              <a:gd name="T59" fmla="*/ 1171 h 1944"/>
              <a:gd name="T60" fmla="*/ 5618 w 7680"/>
              <a:gd name="T61" fmla="*/ 744 h 1944"/>
              <a:gd name="T62" fmla="*/ 6438 w 7680"/>
              <a:gd name="T63" fmla="*/ 1069 h 1944"/>
              <a:gd name="T64" fmla="*/ 6153 w 7680"/>
              <a:gd name="T65" fmla="*/ 1109 h 1944"/>
              <a:gd name="T66" fmla="*/ 5982 w 7680"/>
              <a:gd name="T67" fmla="*/ 1028 h 1944"/>
              <a:gd name="T68" fmla="*/ 6405 w 7680"/>
              <a:gd name="T69" fmla="*/ 1265 h 1944"/>
              <a:gd name="T70" fmla="*/ 6587 w 7680"/>
              <a:gd name="T71" fmla="*/ 629 h 1944"/>
              <a:gd name="T72" fmla="*/ 7159 w 7680"/>
              <a:gd name="T73" fmla="*/ 645 h 1944"/>
              <a:gd name="T74" fmla="*/ 6845 w 7680"/>
              <a:gd name="T75" fmla="*/ 631 h 1944"/>
              <a:gd name="T76" fmla="*/ 6859 w 7680"/>
              <a:gd name="T77" fmla="*/ 925 h 1944"/>
              <a:gd name="T78" fmla="*/ 7074 w 7680"/>
              <a:gd name="T79" fmla="*/ 767 h 1944"/>
              <a:gd name="T80" fmla="*/ 7271 w 7680"/>
              <a:gd name="T81" fmla="*/ 925 h 1944"/>
              <a:gd name="T82" fmla="*/ 7505 w 7680"/>
              <a:gd name="T83" fmla="*/ 789 h 1944"/>
              <a:gd name="T84" fmla="*/ 7680 w 7680"/>
              <a:gd name="T85" fmla="*/ 883 h 1944"/>
              <a:gd name="T86" fmla="*/ 5732 w 7680"/>
              <a:gd name="T87" fmla="*/ 631 h 1944"/>
              <a:gd name="T88" fmla="*/ 5804 w 7680"/>
              <a:gd name="T89" fmla="*/ 368 h 1944"/>
              <a:gd name="T90" fmla="*/ 5864 w 7680"/>
              <a:gd name="T91" fmla="*/ 514 h 1944"/>
              <a:gd name="T92" fmla="*/ 679 w 7680"/>
              <a:gd name="T93" fmla="*/ 43 h 1944"/>
              <a:gd name="T94" fmla="*/ 19 w 7680"/>
              <a:gd name="T95" fmla="*/ 772 h 1944"/>
              <a:gd name="T96" fmla="*/ 316 w 7680"/>
              <a:gd name="T97" fmla="*/ 1684 h 1944"/>
              <a:gd name="T98" fmla="*/ 1254 w 7680"/>
              <a:gd name="T99" fmla="*/ 1892 h 1944"/>
              <a:gd name="T100" fmla="*/ 1916 w 7680"/>
              <a:gd name="T101" fmla="*/ 1162 h 1944"/>
              <a:gd name="T102" fmla="*/ 1618 w 7680"/>
              <a:gd name="T103" fmla="*/ 251 h 1944"/>
              <a:gd name="T104" fmla="*/ 631 w 7680"/>
              <a:gd name="T105" fmla="*/ 1103 h 1944"/>
              <a:gd name="T106" fmla="*/ 1002 w 7680"/>
              <a:gd name="T107" fmla="*/ 607 h 1944"/>
              <a:gd name="T108" fmla="*/ 1270 w 7680"/>
              <a:gd name="T109" fmla="*/ 1167 h 1944"/>
              <a:gd name="T110" fmla="*/ 1438 w 7680"/>
              <a:gd name="T111" fmla="*/ 1619 h 1944"/>
              <a:gd name="T112" fmla="*/ 1278 w 7680"/>
              <a:gd name="T113" fmla="*/ 1351 h 1944"/>
              <a:gd name="T114" fmla="*/ 1588 w 7680"/>
              <a:gd name="T115" fmla="*/ 1337 h 1944"/>
              <a:gd name="T116" fmla="*/ 1457 w 7680"/>
              <a:gd name="T117" fmla="*/ 1619 h 1944"/>
              <a:gd name="T118" fmla="*/ 1703 w 7680"/>
              <a:gd name="T119" fmla="*/ 1836 h 1944"/>
              <a:gd name="T120" fmla="*/ 1890 w 7680"/>
              <a:gd name="T121" fmla="*/ 1923 h 1944"/>
              <a:gd name="T122" fmla="*/ 1880 w 7680"/>
              <a:gd name="T123" fmla="*/ 1717 h 1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80" h="1944">
                <a:moveTo>
                  <a:pt x="2938" y="627"/>
                </a:moveTo>
                <a:lnTo>
                  <a:pt x="2826" y="627"/>
                </a:lnTo>
                <a:lnTo>
                  <a:pt x="2826" y="627"/>
                </a:lnTo>
                <a:lnTo>
                  <a:pt x="2819" y="627"/>
                </a:lnTo>
                <a:lnTo>
                  <a:pt x="2818" y="629"/>
                </a:lnTo>
                <a:lnTo>
                  <a:pt x="2816" y="633"/>
                </a:lnTo>
                <a:lnTo>
                  <a:pt x="2804" y="681"/>
                </a:lnTo>
                <a:lnTo>
                  <a:pt x="2804" y="681"/>
                </a:lnTo>
                <a:lnTo>
                  <a:pt x="2801" y="684"/>
                </a:lnTo>
                <a:lnTo>
                  <a:pt x="2797" y="686"/>
                </a:lnTo>
                <a:lnTo>
                  <a:pt x="2794" y="686"/>
                </a:lnTo>
                <a:lnTo>
                  <a:pt x="2789" y="682"/>
                </a:lnTo>
                <a:lnTo>
                  <a:pt x="2789" y="682"/>
                </a:lnTo>
                <a:lnTo>
                  <a:pt x="2773" y="669"/>
                </a:lnTo>
                <a:lnTo>
                  <a:pt x="2756" y="657"/>
                </a:lnTo>
                <a:lnTo>
                  <a:pt x="2734" y="645"/>
                </a:lnTo>
                <a:lnTo>
                  <a:pt x="2711" y="634"/>
                </a:lnTo>
                <a:lnTo>
                  <a:pt x="2687" y="626"/>
                </a:lnTo>
                <a:lnTo>
                  <a:pt x="2661" y="619"/>
                </a:lnTo>
                <a:lnTo>
                  <a:pt x="2636" y="615"/>
                </a:lnTo>
                <a:lnTo>
                  <a:pt x="2610" y="614"/>
                </a:lnTo>
                <a:lnTo>
                  <a:pt x="2610" y="614"/>
                </a:lnTo>
                <a:lnTo>
                  <a:pt x="2575" y="615"/>
                </a:lnTo>
                <a:lnTo>
                  <a:pt x="2541" y="620"/>
                </a:lnTo>
                <a:lnTo>
                  <a:pt x="2510" y="627"/>
                </a:lnTo>
                <a:lnTo>
                  <a:pt x="2481" y="639"/>
                </a:lnTo>
                <a:lnTo>
                  <a:pt x="2453" y="653"/>
                </a:lnTo>
                <a:lnTo>
                  <a:pt x="2428" y="669"/>
                </a:lnTo>
                <a:lnTo>
                  <a:pt x="2404" y="688"/>
                </a:lnTo>
                <a:lnTo>
                  <a:pt x="2383" y="710"/>
                </a:lnTo>
                <a:lnTo>
                  <a:pt x="2364" y="734"/>
                </a:lnTo>
                <a:lnTo>
                  <a:pt x="2347" y="761"/>
                </a:lnTo>
                <a:lnTo>
                  <a:pt x="2333" y="789"/>
                </a:lnTo>
                <a:lnTo>
                  <a:pt x="2321" y="820"/>
                </a:lnTo>
                <a:lnTo>
                  <a:pt x="2311" y="853"/>
                </a:lnTo>
                <a:lnTo>
                  <a:pt x="2304" y="889"/>
                </a:lnTo>
                <a:lnTo>
                  <a:pt x="2301" y="925"/>
                </a:lnTo>
                <a:lnTo>
                  <a:pt x="2299" y="963"/>
                </a:lnTo>
                <a:lnTo>
                  <a:pt x="2299" y="963"/>
                </a:lnTo>
                <a:lnTo>
                  <a:pt x="2301" y="1000"/>
                </a:lnTo>
                <a:lnTo>
                  <a:pt x="2306" y="1036"/>
                </a:lnTo>
                <a:lnTo>
                  <a:pt x="2313" y="1071"/>
                </a:lnTo>
                <a:lnTo>
                  <a:pt x="2321" y="1103"/>
                </a:lnTo>
                <a:lnTo>
                  <a:pt x="2335" y="1134"/>
                </a:lnTo>
                <a:lnTo>
                  <a:pt x="2349" y="1164"/>
                </a:lnTo>
                <a:lnTo>
                  <a:pt x="2366" y="1189"/>
                </a:lnTo>
                <a:lnTo>
                  <a:pt x="2385" y="1215"/>
                </a:lnTo>
                <a:lnTo>
                  <a:pt x="2407" y="1236"/>
                </a:lnTo>
                <a:lnTo>
                  <a:pt x="2431" y="1255"/>
                </a:lnTo>
                <a:lnTo>
                  <a:pt x="2455" y="1272"/>
                </a:lnTo>
                <a:lnTo>
                  <a:pt x="2483" y="1286"/>
                </a:lnTo>
                <a:lnTo>
                  <a:pt x="2512" y="1296"/>
                </a:lnTo>
                <a:lnTo>
                  <a:pt x="2543" y="1305"/>
                </a:lnTo>
                <a:lnTo>
                  <a:pt x="2575" y="1310"/>
                </a:lnTo>
                <a:lnTo>
                  <a:pt x="2610" y="1311"/>
                </a:lnTo>
                <a:lnTo>
                  <a:pt x="2610" y="1311"/>
                </a:lnTo>
                <a:lnTo>
                  <a:pt x="2630" y="1310"/>
                </a:lnTo>
                <a:lnTo>
                  <a:pt x="2649" y="1308"/>
                </a:lnTo>
                <a:lnTo>
                  <a:pt x="2667" y="1305"/>
                </a:lnTo>
                <a:lnTo>
                  <a:pt x="2684" y="1301"/>
                </a:lnTo>
                <a:lnTo>
                  <a:pt x="2715" y="1291"/>
                </a:lnTo>
                <a:lnTo>
                  <a:pt x="2740" y="1279"/>
                </a:lnTo>
                <a:lnTo>
                  <a:pt x="2761" y="1267"/>
                </a:lnTo>
                <a:lnTo>
                  <a:pt x="2776" y="1255"/>
                </a:lnTo>
                <a:lnTo>
                  <a:pt x="2792" y="1241"/>
                </a:lnTo>
                <a:lnTo>
                  <a:pt x="2792" y="1241"/>
                </a:lnTo>
                <a:lnTo>
                  <a:pt x="2795" y="1239"/>
                </a:lnTo>
                <a:lnTo>
                  <a:pt x="2799" y="1239"/>
                </a:lnTo>
                <a:lnTo>
                  <a:pt x="2802" y="1243"/>
                </a:lnTo>
                <a:lnTo>
                  <a:pt x="2804" y="1244"/>
                </a:lnTo>
                <a:lnTo>
                  <a:pt x="2804" y="1554"/>
                </a:lnTo>
                <a:lnTo>
                  <a:pt x="2804" y="1554"/>
                </a:lnTo>
                <a:lnTo>
                  <a:pt x="2804" y="1557"/>
                </a:lnTo>
                <a:lnTo>
                  <a:pt x="2806" y="1559"/>
                </a:lnTo>
                <a:lnTo>
                  <a:pt x="2807" y="1561"/>
                </a:lnTo>
                <a:lnTo>
                  <a:pt x="2809" y="1561"/>
                </a:lnTo>
                <a:lnTo>
                  <a:pt x="2938" y="1561"/>
                </a:lnTo>
                <a:lnTo>
                  <a:pt x="2938" y="1561"/>
                </a:lnTo>
                <a:lnTo>
                  <a:pt x="2941" y="1561"/>
                </a:lnTo>
                <a:lnTo>
                  <a:pt x="2943" y="1559"/>
                </a:lnTo>
                <a:lnTo>
                  <a:pt x="2945" y="1557"/>
                </a:lnTo>
                <a:lnTo>
                  <a:pt x="2945" y="1554"/>
                </a:lnTo>
                <a:lnTo>
                  <a:pt x="2945" y="633"/>
                </a:lnTo>
                <a:lnTo>
                  <a:pt x="2945" y="633"/>
                </a:lnTo>
                <a:lnTo>
                  <a:pt x="2945" y="631"/>
                </a:lnTo>
                <a:lnTo>
                  <a:pt x="2943" y="629"/>
                </a:lnTo>
                <a:lnTo>
                  <a:pt x="2941" y="627"/>
                </a:lnTo>
                <a:lnTo>
                  <a:pt x="2938" y="627"/>
                </a:lnTo>
                <a:lnTo>
                  <a:pt x="2938" y="627"/>
                </a:lnTo>
                <a:close/>
                <a:moveTo>
                  <a:pt x="2629" y="1181"/>
                </a:moveTo>
                <a:lnTo>
                  <a:pt x="2629" y="1181"/>
                </a:lnTo>
                <a:lnTo>
                  <a:pt x="2608" y="1181"/>
                </a:lnTo>
                <a:lnTo>
                  <a:pt x="2587" y="1177"/>
                </a:lnTo>
                <a:lnTo>
                  <a:pt x="2567" y="1172"/>
                </a:lnTo>
                <a:lnTo>
                  <a:pt x="2550" y="1165"/>
                </a:lnTo>
                <a:lnTo>
                  <a:pt x="2533" y="1157"/>
                </a:lnTo>
                <a:lnTo>
                  <a:pt x="2517" y="1146"/>
                </a:lnTo>
                <a:lnTo>
                  <a:pt x="2503" y="1134"/>
                </a:lnTo>
                <a:lnTo>
                  <a:pt x="2491" y="1121"/>
                </a:lnTo>
                <a:lnTo>
                  <a:pt x="2479" y="1105"/>
                </a:lnTo>
                <a:lnTo>
                  <a:pt x="2471" y="1088"/>
                </a:lnTo>
                <a:lnTo>
                  <a:pt x="2462" y="1071"/>
                </a:lnTo>
                <a:lnTo>
                  <a:pt x="2455" y="1050"/>
                </a:lnTo>
                <a:lnTo>
                  <a:pt x="2450" y="1030"/>
                </a:lnTo>
                <a:lnTo>
                  <a:pt x="2445" y="1009"/>
                </a:lnTo>
                <a:lnTo>
                  <a:pt x="2443" y="987"/>
                </a:lnTo>
                <a:lnTo>
                  <a:pt x="2443" y="963"/>
                </a:lnTo>
                <a:lnTo>
                  <a:pt x="2443" y="963"/>
                </a:lnTo>
                <a:lnTo>
                  <a:pt x="2443" y="938"/>
                </a:lnTo>
                <a:lnTo>
                  <a:pt x="2445" y="916"/>
                </a:lnTo>
                <a:lnTo>
                  <a:pt x="2450" y="894"/>
                </a:lnTo>
                <a:lnTo>
                  <a:pt x="2455" y="873"/>
                </a:lnTo>
                <a:lnTo>
                  <a:pt x="2462" y="854"/>
                </a:lnTo>
                <a:lnTo>
                  <a:pt x="2471" y="835"/>
                </a:lnTo>
                <a:lnTo>
                  <a:pt x="2479" y="820"/>
                </a:lnTo>
                <a:lnTo>
                  <a:pt x="2491" y="804"/>
                </a:lnTo>
                <a:lnTo>
                  <a:pt x="2503" y="791"/>
                </a:lnTo>
                <a:lnTo>
                  <a:pt x="2517" y="777"/>
                </a:lnTo>
                <a:lnTo>
                  <a:pt x="2533" y="767"/>
                </a:lnTo>
                <a:lnTo>
                  <a:pt x="2550" y="758"/>
                </a:lnTo>
                <a:lnTo>
                  <a:pt x="2567" y="751"/>
                </a:lnTo>
                <a:lnTo>
                  <a:pt x="2587" y="746"/>
                </a:lnTo>
                <a:lnTo>
                  <a:pt x="2608" y="743"/>
                </a:lnTo>
                <a:lnTo>
                  <a:pt x="2629" y="743"/>
                </a:lnTo>
                <a:lnTo>
                  <a:pt x="2629" y="743"/>
                </a:lnTo>
                <a:lnTo>
                  <a:pt x="2649" y="743"/>
                </a:lnTo>
                <a:lnTo>
                  <a:pt x="2670" y="746"/>
                </a:lnTo>
                <a:lnTo>
                  <a:pt x="2687" y="751"/>
                </a:lnTo>
                <a:lnTo>
                  <a:pt x="2704" y="758"/>
                </a:lnTo>
                <a:lnTo>
                  <a:pt x="2720" y="767"/>
                </a:lnTo>
                <a:lnTo>
                  <a:pt x="2734" y="777"/>
                </a:lnTo>
                <a:lnTo>
                  <a:pt x="2747" y="791"/>
                </a:lnTo>
                <a:lnTo>
                  <a:pt x="2759" y="804"/>
                </a:lnTo>
                <a:lnTo>
                  <a:pt x="2770" y="820"/>
                </a:lnTo>
                <a:lnTo>
                  <a:pt x="2778" y="835"/>
                </a:lnTo>
                <a:lnTo>
                  <a:pt x="2785" y="854"/>
                </a:lnTo>
                <a:lnTo>
                  <a:pt x="2792" y="873"/>
                </a:lnTo>
                <a:lnTo>
                  <a:pt x="2797" y="894"/>
                </a:lnTo>
                <a:lnTo>
                  <a:pt x="2801" y="916"/>
                </a:lnTo>
                <a:lnTo>
                  <a:pt x="2802" y="938"/>
                </a:lnTo>
                <a:lnTo>
                  <a:pt x="2804" y="963"/>
                </a:lnTo>
                <a:lnTo>
                  <a:pt x="2804" y="963"/>
                </a:lnTo>
                <a:lnTo>
                  <a:pt x="2802" y="987"/>
                </a:lnTo>
                <a:lnTo>
                  <a:pt x="2801" y="1011"/>
                </a:lnTo>
                <a:lnTo>
                  <a:pt x="2797" y="1033"/>
                </a:lnTo>
                <a:lnTo>
                  <a:pt x="2792" y="1054"/>
                </a:lnTo>
                <a:lnTo>
                  <a:pt x="2785" y="1073"/>
                </a:lnTo>
                <a:lnTo>
                  <a:pt x="2778" y="1091"/>
                </a:lnTo>
                <a:lnTo>
                  <a:pt x="2770" y="1107"/>
                </a:lnTo>
                <a:lnTo>
                  <a:pt x="2759" y="1122"/>
                </a:lnTo>
                <a:lnTo>
                  <a:pt x="2747" y="1136"/>
                </a:lnTo>
                <a:lnTo>
                  <a:pt x="2734" y="1148"/>
                </a:lnTo>
                <a:lnTo>
                  <a:pt x="2720" y="1158"/>
                </a:lnTo>
                <a:lnTo>
                  <a:pt x="2704" y="1165"/>
                </a:lnTo>
                <a:lnTo>
                  <a:pt x="2687" y="1172"/>
                </a:lnTo>
                <a:lnTo>
                  <a:pt x="2670" y="1177"/>
                </a:lnTo>
                <a:lnTo>
                  <a:pt x="2649" y="1181"/>
                </a:lnTo>
                <a:lnTo>
                  <a:pt x="2629" y="1181"/>
                </a:lnTo>
                <a:lnTo>
                  <a:pt x="2629" y="1181"/>
                </a:lnTo>
                <a:close/>
                <a:moveTo>
                  <a:pt x="3648" y="627"/>
                </a:moveTo>
                <a:lnTo>
                  <a:pt x="3519" y="627"/>
                </a:lnTo>
                <a:lnTo>
                  <a:pt x="3519" y="627"/>
                </a:lnTo>
                <a:lnTo>
                  <a:pt x="3517" y="627"/>
                </a:lnTo>
                <a:lnTo>
                  <a:pt x="3515" y="629"/>
                </a:lnTo>
                <a:lnTo>
                  <a:pt x="3514" y="631"/>
                </a:lnTo>
                <a:lnTo>
                  <a:pt x="3514" y="633"/>
                </a:lnTo>
                <a:lnTo>
                  <a:pt x="3514" y="1004"/>
                </a:lnTo>
                <a:lnTo>
                  <a:pt x="3514" y="1004"/>
                </a:lnTo>
                <a:lnTo>
                  <a:pt x="3512" y="1021"/>
                </a:lnTo>
                <a:lnTo>
                  <a:pt x="3510" y="1038"/>
                </a:lnTo>
                <a:lnTo>
                  <a:pt x="3507" y="1054"/>
                </a:lnTo>
                <a:lnTo>
                  <a:pt x="3503" y="1069"/>
                </a:lnTo>
                <a:lnTo>
                  <a:pt x="3498" y="1085"/>
                </a:lnTo>
                <a:lnTo>
                  <a:pt x="3491" y="1100"/>
                </a:lnTo>
                <a:lnTo>
                  <a:pt x="3483" y="1114"/>
                </a:lnTo>
                <a:lnTo>
                  <a:pt x="3472" y="1126"/>
                </a:lnTo>
                <a:lnTo>
                  <a:pt x="3462" y="1138"/>
                </a:lnTo>
                <a:lnTo>
                  <a:pt x="3450" y="1150"/>
                </a:lnTo>
                <a:lnTo>
                  <a:pt x="3438" y="1158"/>
                </a:lnTo>
                <a:lnTo>
                  <a:pt x="3422" y="1167"/>
                </a:lnTo>
                <a:lnTo>
                  <a:pt x="3407" y="1172"/>
                </a:lnTo>
                <a:lnTo>
                  <a:pt x="3390" y="1177"/>
                </a:lnTo>
                <a:lnTo>
                  <a:pt x="3373" y="1181"/>
                </a:lnTo>
                <a:lnTo>
                  <a:pt x="3352" y="1181"/>
                </a:lnTo>
                <a:lnTo>
                  <a:pt x="3352" y="1181"/>
                </a:lnTo>
                <a:lnTo>
                  <a:pt x="3331" y="1181"/>
                </a:lnTo>
                <a:lnTo>
                  <a:pt x="3311" y="1177"/>
                </a:lnTo>
                <a:lnTo>
                  <a:pt x="3294" y="1172"/>
                </a:lnTo>
                <a:lnTo>
                  <a:pt x="3278" y="1165"/>
                </a:lnTo>
                <a:lnTo>
                  <a:pt x="3263" y="1157"/>
                </a:lnTo>
                <a:lnTo>
                  <a:pt x="3249" y="1146"/>
                </a:lnTo>
                <a:lnTo>
                  <a:pt x="3237" y="1136"/>
                </a:lnTo>
                <a:lnTo>
                  <a:pt x="3227" y="1122"/>
                </a:lnTo>
                <a:lnTo>
                  <a:pt x="3218" y="1109"/>
                </a:lnTo>
                <a:lnTo>
                  <a:pt x="3211" y="1095"/>
                </a:lnTo>
                <a:lnTo>
                  <a:pt x="3204" y="1079"/>
                </a:lnTo>
                <a:lnTo>
                  <a:pt x="3199" y="1064"/>
                </a:lnTo>
                <a:lnTo>
                  <a:pt x="3196" y="1047"/>
                </a:lnTo>
                <a:lnTo>
                  <a:pt x="3192" y="1031"/>
                </a:lnTo>
                <a:lnTo>
                  <a:pt x="3191" y="1014"/>
                </a:lnTo>
                <a:lnTo>
                  <a:pt x="3191" y="997"/>
                </a:lnTo>
                <a:lnTo>
                  <a:pt x="3191" y="633"/>
                </a:lnTo>
                <a:lnTo>
                  <a:pt x="3191" y="633"/>
                </a:lnTo>
                <a:lnTo>
                  <a:pt x="3191" y="631"/>
                </a:lnTo>
                <a:lnTo>
                  <a:pt x="3189" y="629"/>
                </a:lnTo>
                <a:lnTo>
                  <a:pt x="3187" y="627"/>
                </a:lnTo>
                <a:lnTo>
                  <a:pt x="3184" y="627"/>
                </a:lnTo>
                <a:lnTo>
                  <a:pt x="3055" y="627"/>
                </a:lnTo>
                <a:lnTo>
                  <a:pt x="3055" y="627"/>
                </a:lnTo>
                <a:lnTo>
                  <a:pt x="3051" y="627"/>
                </a:lnTo>
                <a:lnTo>
                  <a:pt x="3050" y="629"/>
                </a:lnTo>
                <a:lnTo>
                  <a:pt x="3048" y="631"/>
                </a:lnTo>
                <a:lnTo>
                  <a:pt x="3048" y="633"/>
                </a:lnTo>
                <a:lnTo>
                  <a:pt x="3048" y="997"/>
                </a:lnTo>
                <a:lnTo>
                  <a:pt x="3048" y="997"/>
                </a:lnTo>
                <a:lnTo>
                  <a:pt x="3048" y="1028"/>
                </a:lnTo>
                <a:lnTo>
                  <a:pt x="3051" y="1059"/>
                </a:lnTo>
                <a:lnTo>
                  <a:pt x="3057" y="1088"/>
                </a:lnTo>
                <a:lnTo>
                  <a:pt x="3063" y="1117"/>
                </a:lnTo>
                <a:lnTo>
                  <a:pt x="3074" y="1145"/>
                </a:lnTo>
                <a:lnTo>
                  <a:pt x="3084" y="1171"/>
                </a:lnTo>
                <a:lnTo>
                  <a:pt x="3099" y="1195"/>
                </a:lnTo>
                <a:lnTo>
                  <a:pt x="3115" y="1217"/>
                </a:lnTo>
                <a:lnTo>
                  <a:pt x="3134" y="1238"/>
                </a:lnTo>
                <a:lnTo>
                  <a:pt x="3154" y="1256"/>
                </a:lnTo>
                <a:lnTo>
                  <a:pt x="3177" y="1272"/>
                </a:lnTo>
                <a:lnTo>
                  <a:pt x="3204" y="1286"/>
                </a:lnTo>
                <a:lnTo>
                  <a:pt x="3232" y="1296"/>
                </a:lnTo>
                <a:lnTo>
                  <a:pt x="3263" y="1305"/>
                </a:lnTo>
                <a:lnTo>
                  <a:pt x="3297" y="1310"/>
                </a:lnTo>
                <a:lnTo>
                  <a:pt x="3333" y="1311"/>
                </a:lnTo>
                <a:lnTo>
                  <a:pt x="3333" y="1311"/>
                </a:lnTo>
                <a:lnTo>
                  <a:pt x="3359" y="1310"/>
                </a:lnTo>
                <a:lnTo>
                  <a:pt x="3385" y="1305"/>
                </a:lnTo>
                <a:lnTo>
                  <a:pt x="3409" y="1298"/>
                </a:lnTo>
                <a:lnTo>
                  <a:pt x="3433" y="1289"/>
                </a:lnTo>
                <a:lnTo>
                  <a:pt x="3453" y="1279"/>
                </a:lnTo>
                <a:lnTo>
                  <a:pt x="3471" y="1265"/>
                </a:lnTo>
                <a:lnTo>
                  <a:pt x="3486" y="1253"/>
                </a:lnTo>
                <a:lnTo>
                  <a:pt x="3498" y="1239"/>
                </a:lnTo>
                <a:lnTo>
                  <a:pt x="3498" y="1239"/>
                </a:lnTo>
                <a:lnTo>
                  <a:pt x="3502" y="1238"/>
                </a:lnTo>
                <a:lnTo>
                  <a:pt x="3507" y="1236"/>
                </a:lnTo>
                <a:lnTo>
                  <a:pt x="3510" y="1238"/>
                </a:lnTo>
                <a:lnTo>
                  <a:pt x="3514" y="1241"/>
                </a:lnTo>
                <a:lnTo>
                  <a:pt x="3526" y="1291"/>
                </a:lnTo>
                <a:lnTo>
                  <a:pt x="3526" y="1291"/>
                </a:lnTo>
                <a:lnTo>
                  <a:pt x="3529" y="1296"/>
                </a:lnTo>
                <a:lnTo>
                  <a:pt x="3532" y="1298"/>
                </a:lnTo>
                <a:lnTo>
                  <a:pt x="3536" y="1298"/>
                </a:lnTo>
                <a:lnTo>
                  <a:pt x="3648" y="1298"/>
                </a:lnTo>
                <a:lnTo>
                  <a:pt x="3648" y="1298"/>
                </a:lnTo>
                <a:lnTo>
                  <a:pt x="3651" y="1298"/>
                </a:lnTo>
                <a:lnTo>
                  <a:pt x="3653" y="1296"/>
                </a:lnTo>
                <a:lnTo>
                  <a:pt x="3654" y="1294"/>
                </a:lnTo>
                <a:lnTo>
                  <a:pt x="3654" y="1291"/>
                </a:lnTo>
                <a:lnTo>
                  <a:pt x="3654" y="633"/>
                </a:lnTo>
                <a:lnTo>
                  <a:pt x="3654" y="633"/>
                </a:lnTo>
                <a:lnTo>
                  <a:pt x="3654" y="631"/>
                </a:lnTo>
                <a:lnTo>
                  <a:pt x="3653" y="629"/>
                </a:lnTo>
                <a:lnTo>
                  <a:pt x="3651" y="627"/>
                </a:lnTo>
                <a:lnTo>
                  <a:pt x="3648" y="627"/>
                </a:lnTo>
                <a:lnTo>
                  <a:pt x="3648" y="627"/>
                </a:lnTo>
                <a:close/>
                <a:moveTo>
                  <a:pt x="4441" y="1176"/>
                </a:moveTo>
                <a:lnTo>
                  <a:pt x="4412" y="1176"/>
                </a:lnTo>
                <a:lnTo>
                  <a:pt x="4412" y="1176"/>
                </a:lnTo>
                <a:lnTo>
                  <a:pt x="4402" y="1176"/>
                </a:lnTo>
                <a:lnTo>
                  <a:pt x="4393" y="1172"/>
                </a:lnTo>
                <a:lnTo>
                  <a:pt x="4385" y="1169"/>
                </a:lnTo>
                <a:lnTo>
                  <a:pt x="4378" y="1164"/>
                </a:lnTo>
                <a:lnTo>
                  <a:pt x="4373" y="1157"/>
                </a:lnTo>
                <a:lnTo>
                  <a:pt x="4369" y="1148"/>
                </a:lnTo>
                <a:lnTo>
                  <a:pt x="4367" y="1141"/>
                </a:lnTo>
                <a:lnTo>
                  <a:pt x="4366" y="1133"/>
                </a:lnTo>
                <a:lnTo>
                  <a:pt x="4366" y="859"/>
                </a:lnTo>
                <a:lnTo>
                  <a:pt x="4366" y="859"/>
                </a:lnTo>
                <a:lnTo>
                  <a:pt x="4364" y="830"/>
                </a:lnTo>
                <a:lnTo>
                  <a:pt x="4361" y="803"/>
                </a:lnTo>
                <a:lnTo>
                  <a:pt x="4354" y="777"/>
                </a:lnTo>
                <a:lnTo>
                  <a:pt x="4345" y="753"/>
                </a:lnTo>
                <a:lnTo>
                  <a:pt x="4333" y="731"/>
                </a:lnTo>
                <a:lnTo>
                  <a:pt x="4319" y="710"/>
                </a:lnTo>
                <a:lnTo>
                  <a:pt x="4304" y="691"/>
                </a:lnTo>
                <a:lnTo>
                  <a:pt x="4287" y="676"/>
                </a:lnTo>
                <a:lnTo>
                  <a:pt x="4266" y="660"/>
                </a:lnTo>
                <a:lnTo>
                  <a:pt x="4244" y="648"/>
                </a:lnTo>
                <a:lnTo>
                  <a:pt x="4218" y="638"/>
                </a:lnTo>
                <a:lnTo>
                  <a:pt x="4192" y="629"/>
                </a:lnTo>
                <a:lnTo>
                  <a:pt x="4165" y="622"/>
                </a:lnTo>
                <a:lnTo>
                  <a:pt x="4134" y="617"/>
                </a:lnTo>
                <a:lnTo>
                  <a:pt x="4103" y="614"/>
                </a:lnTo>
                <a:lnTo>
                  <a:pt x="4069" y="614"/>
                </a:lnTo>
                <a:lnTo>
                  <a:pt x="4069" y="614"/>
                </a:lnTo>
                <a:lnTo>
                  <a:pt x="4039" y="614"/>
                </a:lnTo>
                <a:lnTo>
                  <a:pt x="4012" y="617"/>
                </a:lnTo>
                <a:lnTo>
                  <a:pt x="3984" y="622"/>
                </a:lnTo>
                <a:lnTo>
                  <a:pt x="3959" y="627"/>
                </a:lnTo>
                <a:lnTo>
                  <a:pt x="3933" y="636"/>
                </a:lnTo>
                <a:lnTo>
                  <a:pt x="3909" y="646"/>
                </a:lnTo>
                <a:lnTo>
                  <a:pt x="3886" y="658"/>
                </a:lnTo>
                <a:lnTo>
                  <a:pt x="3866" y="672"/>
                </a:lnTo>
                <a:lnTo>
                  <a:pt x="3845" y="688"/>
                </a:lnTo>
                <a:lnTo>
                  <a:pt x="3828" y="705"/>
                </a:lnTo>
                <a:lnTo>
                  <a:pt x="3814" y="724"/>
                </a:lnTo>
                <a:lnTo>
                  <a:pt x="3800" y="744"/>
                </a:lnTo>
                <a:lnTo>
                  <a:pt x="3790" y="767"/>
                </a:lnTo>
                <a:lnTo>
                  <a:pt x="3783" y="792"/>
                </a:lnTo>
                <a:lnTo>
                  <a:pt x="3778" y="818"/>
                </a:lnTo>
                <a:lnTo>
                  <a:pt x="3776" y="847"/>
                </a:lnTo>
                <a:lnTo>
                  <a:pt x="3776" y="847"/>
                </a:lnTo>
                <a:lnTo>
                  <a:pt x="3778" y="849"/>
                </a:lnTo>
                <a:lnTo>
                  <a:pt x="3778" y="851"/>
                </a:lnTo>
                <a:lnTo>
                  <a:pt x="3782" y="853"/>
                </a:lnTo>
                <a:lnTo>
                  <a:pt x="3783" y="854"/>
                </a:lnTo>
                <a:lnTo>
                  <a:pt x="3912" y="854"/>
                </a:lnTo>
                <a:lnTo>
                  <a:pt x="3912" y="854"/>
                </a:lnTo>
                <a:lnTo>
                  <a:pt x="3916" y="853"/>
                </a:lnTo>
                <a:lnTo>
                  <a:pt x="3917" y="851"/>
                </a:lnTo>
                <a:lnTo>
                  <a:pt x="3919" y="849"/>
                </a:lnTo>
                <a:lnTo>
                  <a:pt x="3919" y="847"/>
                </a:lnTo>
                <a:lnTo>
                  <a:pt x="3919" y="847"/>
                </a:lnTo>
                <a:lnTo>
                  <a:pt x="3921" y="827"/>
                </a:lnTo>
                <a:lnTo>
                  <a:pt x="3924" y="816"/>
                </a:lnTo>
                <a:lnTo>
                  <a:pt x="3928" y="808"/>
                </a:lnTo>
                <a:lnTo>
                  <a:pt x="3933" y="798"/>
                </a:lnTo>
                <a:lnTo>
                  <a:pt x="3938" y="789"/>
                </a:lnTo>
                <a:lnTo>
                  <a:pt x="3945" y="782"/>
                </a:lnTo>
                <a:lnTo>
                  <a:pt x="3953" y="773"/>
                </a:lnTo>
                <a:lnTo>
                  <a:pt x="3964" y="767"/>
                </a:lnTo>
                <a:lnTo>
                  <a:pt x="3974" y="761"/>
                </a:lnTo>
                <a:lnTo>
                  <a:pt x="3986" y="756"/>
                </a:lnTo>
                <a:lnTo>
                  <a:pt x="4000" y="751"/>
                </a:lnTo>
                <a:lnTo>
                  <a:pt x="4015" y="748"/>
                </a:lnTo>
                <a:lnTo>
                  <a:pt x="4031" y="746"/>
                </a:lnTo>
                <a:lnTo>
                  <a:pt x="4050" y="744"/>
                </a:lnTo>
                <a:lnTo>
                  <a:pt x="4069" y="743"/>
                </a:lnTo>
                <a:lnTo>
                  <a:pt x="4069" y="743"/>
                </a:lnTo>
                <a:lnTo>
                  <a:pt x="4094" y="744"/>
                </a:lnTo>
                <a:lnTo>
                  <a:pt x="4117" y="746"/>
                </a:lnTo>
                <a:lnTo>
                  <a:pt x="4136" y="749"/>
                </a:lnTo>
                <a:lnTo>
                  <a:pt x="4153" y="755"/>
                </a:lnTo>
                <a:lnTo>
                  <a:pt x="4168" y="760"/>
                </a:lnTo>
                <a:lnTo>
                  <a:pt x="4180" y="767"/>
                </a:lnTo>
                <a:lnTo>
                  <a:pt x="4190" y="775"/>
                </a:lnTo>
                <a:lnTo>
                  <a:pt x="4201" y="784"/>
                </a:lnTo>
                <a:lnTo>
                  <a:pt x="4208" y="792"/>
                </a:lnTo>
                <a:lnTo>
                  <a:pt x="4213" y="801"/>
                </a:lnTo>
                <a:lnTo>
                  <a:pt x="4216" y="810"/>
                </a:lnTo>
                <a:lnTo>
                  <a:pt x="4220" y="818"/>
                </a:lnTo>
                <a:lnTo>
                  <a:pt x="4223" y="837"/>
                </a:lnTo>
                <a:lnTo>
                  <a:pt x="4223" y="854"/>
                </a:lnTo>
                <a:lnTo>
                  <a:pt x="4223" y="854"/>
                </a:lnTo>
                <a:lnTo>
                  <a:pt x="4223" y="859"/>
                </a:lnTo>
                <a:lnTo>
                  <a:pt x="4221" y="866"/>
                </a:lnTo>
                <a:lnTo>
                  <a:pt x="4218" y="871"/>
                </a:lnTo>
                <a:lnTo>
                  <a:pt x="4213" y="878"/>
                </a:lnTo>
                <a:lnTo>
                  <a:pt x="4208" y="883"/>
                </a:lnTo>
                <a:lnTo>
                  <a:pt x="4199" y="887"/>
                </a:lnTo>
                <a:lnTo>
                  <a:pt x="4190" y="890"/>
                </a:lnTo>
                <a:lnTo>
                  <a:pt x="4182" y="890"/>
                </a:lnTo>
                <a:lnTo>
                  <a:pt x="4044" y="890"/>
                </a:lnTo>
                <a:lnTo>
                  <a:pt x="4044" y="890"/>
                </a:lnTo>
                <a:lnTo>
                  <a:pt x="4010" y="892"/>
                </a:lnTo>
                <a:lnTo>
                  <a:pt x="3977" y="896"/>
                </a:lnTo>
                <a:lnTo>
                  <a:pt x="3947" y="901"/>
                </a:lnTo>
                <a:lnTo>
                  <a:pt x="3917" y="908"/>
                </a:lnTo>
                <a:lnTo>
                  <a:pt x="3892" y="916"/>
                </a:lnTo>
                <a:lnTo>
                  <a:pt x="3867" y="926"/>
                </a:lnTo>
                <a:lnTo>
                  <a:pt x="3847" y="938"/>
                </a:lnTo>
                <a:lnTo>
                  <a:pt x="3826" y="952"/>
                </a:lnTo>
                <a:lnTo>
                  <a:pt x="3809" y="966"/>
                </a:lnTo>
                <a:lnTo>
                  <a:pt x="3795" y="981"/>
                </a:lnTo>
                <a:lnTo>
                  <a:pt x="3783" y="999"/>
                </a:lnTo>
                <a:lnTo>
                  <a:pt x="3773" y="1018"/>
                </a:lnTo>
                <a:lnTo>
                  <a:pt x="3764" y="1036"/>
                </a:lnTo>
                <a:lnTo>
                  <a:pt x="3759" y="1057"/>
                </a:lnTo>
                <a:lnTo>
                  <a:pt x="3756" y="1078"/>
                </a:lnTo>
                <a:lnTo>
                  <a:pt x="3754" y="1098"/>
                </a:lnTo>
                <a:lnTo>
                  <a:pt x="3754" y="1098"/>
                </a:lnTo>
                <a:lnTo>
                  <a:pt x="3756" y="1122"/>
                </a:lnTo>
                <a:lnTo>
                  <a:pt x="3758" y="1143"/>
                </a:lnTo>
                <a:lnTo>
                  <a:pt x="3763" y="1164"/>
                </a:lnTo>
                <a:lnTo>
                  <a:pt x="3770" y="1184"/>
                </a:lnTo>
                <a:lnTo>
                  <a:pt x="3780" y="1203"/>
                </a:lnTo>
                <a:lnTo>
                  <a:pt x="3790" y="1220"/>
                </a:lnTo>
                <a:lnTo>
                  <a:pt x="3804" y="1236"/>
                </a:lnTo>
                <a:lnTo>
                  <a:pt x="3819" y="1251"/>
                </a:lnTo>
                <a:lnTo>
                  <a:pt x="3837" y="1265"/>
                </a:lnTo>
                <a:lnTo>
                  <a:pt x="3855" y="1277"/>
                </a:lnTo>
                <a:lnTo>
                  <a:pt x="3878" y="1287"/>
                </a:lnTo>
                <a:lnTo>
                  <a:pt x="3902" y="1296"/>
                </a:lnTo>
                <a:lnTo>
                  <a:pt x="3928" y="1303"/>
                </a:lnTo>
                <a:lnTo>
                  <a:pt x="3955" y="1308"/>
                </a:lnTo>
                <a:lnTo>
                  <a:pt x="3986" y="1310"/>
                </a:lnTo>
                <a:lnTo>
                  <a:pt x="4019" y="1311"/>
                </a:lnTo>
                <a:lnTo>
                  <a:pt x="4019" y="1311"/>
                </a:lnTo>
                <a:lnTo>
                  <a:pt x="4058" y="1310"/>
                </a:lnTo>
                <a:lnTo>
                  <a:pt x="4096" y="1305"/>
                </a:lnTo>
                <a:lnTo>
                  <a:pt x="4130" y="1296"/>
                </a:lnTo>
                <a:lnTo>
                  <a:pt x="4160" y="1286"/>
                </a:lnTo>
                <a:lnTo>
                  <a:pt x="4185" y="1274"/>
                </a:lnTo>
                <a:lnTo>
                  <a:pt x="4208" y="1262"/>
                </a:lnTo>
                <a:lnTo>
                  <a:pt x="4227" y="1248"/>
                </a:lnTo>
                <a:lnTo>
                  <a:pt x="4240" y="1234"/>
                </a:lnTo>
                <a:lnTo>
                  <a:pt x="4240" y="1234"/>
                </a:lnTo>
                <a:lnTo>
                  <a:pt x="4244" y="1232"/>
                </a:lnTo>
                <a:lnTo>
                  <a:pt x="4247" y="1232"/>
                </a:lnTo>
                <a:lnTo>
                  <a:pt x="4251" y="1232"/>
                </a:lnTo>
                <a:lnTo>
                  <a:pt x="4252" y="1236"/>
                </a:lnTo>
                <a:lnTo>
                  <a:pt x="4252" y="1236"/>
                </a:lnTo>
                <a:lnTo>
                  <a:pt x="4263" y="1250"/>
                </a:lnTo>
                <a:lnTo>
                  <a:pt x="4273" y="1262"/>
                </a:lnTo>
                <a:lnTo>
                  <a:pt x="4287" y="1274"/>
                </a:lnTo>
                <a:lnTo>
                  <a:pt x="4302" y="1282"/>
                </a:lnTo>
                <a:lnTo>
                  <a:pt x="4319" y="1289"/>
                </a:lnTo>
                <a:lnTo>
                  <a:pt x="4340" y="1294"/>
                </a:lnTo>
                <a:lnTo>
                  <a:pt x="4362" y="1298"/>
                </a:lnTo>
                <a:lnTo>
                  <a:pt x="4388" y="1298"/>
                </a:lnTo>
                <a:lnTo>
                  <a:pt x="4441" y="1298"/>
                </a:lnTo>
                <a:lnTo>
                  <a:pt x="4441" y="1298"/>
                </a:lnTo>
                <a:lnTo>
                  <a:pt x="4445" y="1298"/>
                </a:lnTo>
                <a:lnTo>
                  <a:pt x="4446" y="1296"/>
                </a:lnTo>
                <a:lnTo>
                  <a:pt x="4448" y="1294"/>
                </a:lnTo>
                <a:lnTo>
                  <a:pt x="4448" y="1291"/>
                </a:lnTo>
                <a:lnTo>
                  <a:pt x="4448" y="1183"/>
                </a:lnTo>
                <a:lnTo>
                  <a:pt x="4448" y="1183"/>
                </a:lnTo>
                <a:lnTo>
                  <a:pt x="4448" y="1179"/>
                </a:lnTo>
                <a:lnTo>
                  <a:pt x="4446" y="1177"/>
                </a:lnTo>
                <a:lnTo>
                  <a:pt x="4445" y="1176"/>
                </a:lnTo>
                <a:lnTo>
                  <a:pt x="4441" y="1176"/>
                </a:lnTo>
                <a:lnTo>
                  <a:pt x="4441" y="1176"/>
                </a:lnTo>
                <a:close/>
                <a:moveTo>
                  <a:pt x="4223" y="1023"/>
                </a:moveTo>
                <a:lnTo>
                  <a:pt x="4223" y="1023"/>
                </a:lnTo>
                <a:lnTo>
                  <a:pt x="4223" y="1036"/>
                </a:lnTo>
                <a:lnTo>
                  <a:pt x="4221" y="1050"/>
                </a:lnTo>
                <a:lnTo>
                  <a:pt x="4218" y="1064"/>
                </a:lnTo>
                <a:lnTo>
                  <a:pt x="4213" y="1078"/>
                </a:lnTo>
                <a:lnTo>
                  <a:pt x="4206" y="1091"/>
                </a:lnTo>
                <a:lnTo>
                  <a:pt x="4197" y="1105"/>
                </a:lnTo>
                <a:lnTo>
                  <a:pt x="4187" y="1119"/>
                </a:lnTo>
                <a:lnTo>
                  <a:pt x="4177" y="1129"/>
                </a:lnTo>
                <a:lnTo>
                  <a:pt x="4163" y="1141"/>
                </a:lnTo>
                <a:lnTo>
                  <a:pt x="4148" y="1152"/>
                </a:lnTo>
                <a:lnTo>
                  <a:pt x="4132" y="1160"/>
                </a:lnTo>
                <a:lnTo>
                  <a:pt x="4113" y="1167"/>
                </a:lnTo>
                <a:lnTo>
                  <a:pt x="4093" y="1174"/>
                </a:lnTo>
                <a:lnTo>
                  <a:pt x="4070" y="1179"/>
                </a:lnTo>
                <a:lnTo>
                  <a:pt x="4044" y="1181"/>
                </a:lnTo>
                <a:lnTo>
                  <a:pt x="4019" y="1183"/>
                </a:lnTo>
                <a:lnTo>
                  <a:pt x="4019" y="1183"/>
                </a:lnTo>
                <a:lnTo>
                  <a:pt x="4002" y="1183"/>
                </a:lnTo>
                <a:lnTo>
                  <a:pt x="3986" y="1181"/>
                </a:lnTo>
                <a:lnTo>
                  <a:pt x="3972" y="1177"/>
                </a:lnTo>
                <a:lnTo>
                  <a:pt x="3960" y="1174"/>
                </a:lnTo>
                <a:lnTo>
                  <a:pt x="3948" y="1171"/>
                </a:lnTo>
                <a:lnTo>
                  <a:pt x="3940" y="1165"/>
                </a:lnTo>
                <a:lnTo>
                  <a:pt x="3929" y="1160"/>
                </a:lnTo>
                <a:lnTo>
                  <a:pt x="3922" y="1155"/>
                </a:lnTo>
                <a:lnTo>
                  <a:pt x="3916" y="1148"/>
                </a:lnTo>
                <a:lnTo>
                  <a:pt x="3910" y="1141"/>
                </a:lnTo>
                <a:lnTo>
                  <a:pt x="3902" y="1128"/>
                </a:lnTo>
                <a:lnTo>
                  <a:pt x="3898" y="1114"/>
                </a:lnTo>
                <a:lnTo>
                  <a:pt x="3897" y="1098"/>
                </a:lnTo>
                <a:lnTo>
                  <a:pt x="3897" y="1098"/>
                </a:lnTo>
                <a:lnTo>
                  <a:pt x="3897" y="1083"/>
                </a:lnTo>
                <a:lnTo>
                  <a:pt x="3902" y="1067"/>
                </a:lnTo>
                <a:lnTo>
                  <a:pt x="3905" y="1059"/>
                </a:lnTo>
                <a:lnTo>
                  <a:pt x="3910" y="1052"/>
                </a:lnTo>
                <a:lnTo>
                  <a:pt x="3916" y="1043"/>
                </a:lnTo>
                <a:lnTo>
                  <a:pt x="3924" y="1036"/>
                </a:lnTo>
                <a:lnTo>
                  <a:pt x="3933" y="1031"/>
                </a:lnTo>
                <a:lnTo>
                  <a:pt x="3943" y="1024"/>
                </a:lnTo>
                <a:lnTo>
                  <a:pt x="3955" y="1019"/>
                </a:lnTo>
                <a:lnTo>
                  <a:pt x="3971" y="1014"/>
                </a:lnTo>
                <a:lnTo>
                  <a:pt x="3986" y="1011"/>
                </a:lnTo>
                <a:lnTo>
                  <a:pt x="4005" y="1009"/>
                </a:lnTo>
                <a:lnTo>
                  <a:pt x="4026" y="1007"/>
                </a:lnTo>
                <a:lnTo>
                  <a:pt x="4050" y="1006"/>
                </a:lnTo>
                <a:lnTo>
                  <a:pt x="4218" y="1006"/>
                </a:lnTo>
                <a:lnTo>
                  <a:pt x="4218" y="1006"/>
                </a:lnTo>
                <a:lnTo>
                  <a:pt x="4220" y="1007"/>
                </a:lnTo>
                <a:lnTo>
                  <a:pt x="4221" y="1007"/>
                </a:lnTo>
                <a:lnTo>
                  <a:pt x="4223" y="1011"/>
                </a:lnTo>
                <a:lnTo>
                  <a:pt x="4223" y="1012"/>
                </a:lnTo>
                <a:lnTo>
                  <a:pt x="4223" y="1023"/>
                </a:lnTo>
                <a:close/>
                <a:moveTo>
                  <a:pt x="4869" y="614"/>
                </a:moveTo>
                <a:lnTo>
                  <a:pt x="4869" y="614"/>
                </a:lnTo>
                <a:lnTo>
                  <a:pt x="4842" y="615"/>
                </a:lnTo>
                <a:lnTo>
                  <a:pt x="4816" y="619"/>
                </a:lnTo>
                <a:lnTo>
                  <a:pt x="4792" y="626"/>
                </a:lnTo>
                <a:lnTo>
                  <a:pt x="4770" y="636"/>
                </a:lnTo>
                <a:lnTo>
                  <a:pt x="4747" y="646"/>
                </a:lnTo>
                <a:lnTo>
                  <a:pt x="4730" y="658"/>
                </a:lnTo>
                <a:lnTo>
                  <a:pt x="4715" y="672"/>
                </a:lnTo>
                <a:lnTo>
                  <a:pt x="4702" y="684"/>
                </a:lnTo>
                <a:lnTo>
                  <a:pt x="4702" y="684"/>
                </a:lnTo>
                <a:lnTo>
                  <a:pt x="4699" y="688"/>
                </a:lnTo>
                <a:lnTo>
                  <a:pt x="4696" y="689"/>
                </a:lnTo>
                <a:lnTo>
                  <a:pt x="4690" y="688"/>
                </a:lnTo>
                <a:lnTo>
                  <a:pt x="4689" y="684"/>
                </a:lnTo>
                <a:lnTo>
                  <a:pt x="4675" y="633"/>
                </a:lnTo>
                <a:lnTo>
                  <a:pt x="4675" y="633"/>
                </a:lnTo>
                <a:lnTo>
                  <a:pt x="4672" y="629"/>
                </a:lnTo>
                <a:lnTo>
                  <a:pt x="4670" y="627"/>
                </a:lnTo>
                <a:lnTo>
                  <a:pt x="4666" y="627"/>
                </a:lnTo>
                <a:lnTo>
                  <a:pt x="4553" y="627"/>
                </a:lnTo>
                <a:lnTo>
                  <a:pt x="4553" y="627"/>
                </a:lnTo>
                <a:lnTo>
                  <a:pt x="4550" y="627"/>
                </a:lnTo>
                <a:lnTo>
                  <a:pt x="4548" y="629"/>
                </a:lnTo>
                <a:lnTo>
                  <a:pt x="4546" y="631"/>
                </a:lnTo>
                <a:lnTo>
                  <a:pt x="4546" y="633"/>
                </a:lnTo>
                <a:lnTo>
                  <a:pt x="4546" y="1291"/>
                </a:lnTo>
                <a:lnTo>
                  <a:pt x="4546" y="1291"/>
                </a:lnTo>
                <a:lnTo>
                  <a:pt x="4546" y="1294"/>
                </a:lnTo>
                <a:lnTo>
                  <a:pt x="4548" y="1296"/>
                </a:lnTo>
                <a:lnTo>
                  <a:pt x="4550" y="1298"/>
                </a:lnTo>
                <a:lnTo>
                  <a:pt x="4553" y="1298"/>
                </a:lnTo>
                <a:lnTo>
                  <a:pt x="4682" y="1298"/>
                </a:lnTo>
                <a:lnTo>
                  <a:pt x="4682" y="1298"/>
                </a:lnTo>
                <a:lnTo>
                  <a:pt x="4684" y="1298"/>
                </a:lnTo>
                <a:lnTo>
                  <a:pt x="4687" y="1296"/>
                </a:lnTo>
                <a:lnTo>
                  <a:pt x="4687" y="1294"/>
                </a:lnTo>
                <a:lnTo>
                  <a:pt x="4689" y="1291"/>
                </a:lnTo>
                <a:lnTo>
                  <a:pt x="4689" y="921"/>
                </a:lnTo>
                <a:lnTo>
                  <a:pt x="4689" y="921"/>
                </a:lnTo>
                <a:lnTo>
                  <a:pt x="4689" y="904"/>
                </a:lnTo>
                <a:lnTo>
                  <a:pt x="4690" y="887"/>
                </a:lnTo>
                <a:lnTo>
                  <a:pt x="4694" y="871"/>
                </a:lnTo>
                <a:lnTo>
                  <a:pt x="4697" y="854"/>
                </a:lnTo>
                <a:lnTo>
                  <a:pt x="4704" y="839"/>
                </a:lnTo>
                <a:lnTo>
                  <a:pt x="4711" y="825"/>
                </a:lnTo>
                <a:lnTo>
                  <a:pt x="4718" y="811"/>
                </a:lnTo>
                <a:lnTo>
                  <a:pt x="4728" y="798"/>
                </a:lnTo>
                <a:lnTo>
                  <a:pt x="4739" y="786"/>
                </a:lnTo>
                <a:lnTo>
                  <a:pt x="4751" y="775"/>
                </a:lnTo>
                <a:lnTo>
                  <a:pt x="4764" y="767"/>
                </a:lnTo>
                <a:lnTo>
                  <a:pt x="4778" y="758"/>
                </a:lnTo>
                <a:lnTo>
                  <a:pt x="4794" y="751"/>
                </a:lnTo>
                <a:lnTo>
                  <a:pt x="4811" y="748"/>
                </a:lnTo>
                <a:lnTo>
                  <a:pt x="4830" y="744"/>
                </a:lnTo>
                <a:lnTo>
                  <a:pt x="4849" y="743"/>
                </a:lnTo>
                <a:lnTo>
                  <a:pt x="4849" y="743"/>
                </a:lnTo>
                <a:lnTo>
                  <a:pt x="4869" y="744"/>
                </a:lnTo>
                <a:lnTo>
                  <a:pt x="4890" y="748"/>
                </a:lnTo>
                <a:lnTo>
                  <a:pt x="4907" y="753"/>
                </a:lnTo>
                <a:lnTo>
                  <a:pt x="4924" y="760"/>
                </a:lnTo>
                <a:lnTo>
                  <a:pt x="4938" y="768"/>
                </a:lnTo>
                <a:lnTo>
                  <a:pt x="4952" y="779"/>
                </a:lnTo>
                <a:lnTo>
                  <a:pt x="4964" y="789"/>
                </a:lnTo>
                <a:lnTo>
                  <a:pt x="4974" y="801"/>
                </a:lnTo>
                <a:lnTo>
                  <a:pt x="4983" y="815"/>
                </a:lnTo>
                <a:lnTo>
                  <a:pt x="4991" y="830"/>
                </a:lnTo>
                <a:lnTo>
                  <a:pt x="4996" y="846"/>
                </a:lnTo>
                <a:lnTo>
                  <a:pt x="5001" y="861"/>
                </a:lnTo>
                <a:lnTo>
                  <a:pt x="5005" y="877"/>
                </a:lnTo>
                <a:lnTo>
                  <a:pt x="5008" y="894"/>
                </a:lnTo>
                <a:lnTo>
                  <a:pt x="5010" y="911"/>
                </a:lnTo>
                <a:lnTo>
                  <a:pt x="5010" y="928"/>
                </a:lnTo>
                <a:lnTo>
                  <a:pt x="5010" y="1291"/>
                </a:lnTo>
                <a:lnTo>
                  <a:pt x="5010" y="1291"/>
                </a:lnTo>
                <a:lnTo>
                  <a:pt x="5012" y="1294"/>
                </a:lnTo>
                <a:lnTo>
                  <a:pt x="5012" y="1296"/>
                </a:lnTo>
                <a:lnTo>
                  <a:pt x="5015" y="1298"/>
                </a:lnTo>
                <a:lnTo>
                  <a:pt x="5017" y="1298"/>
                </a:lnTo>
                <a:lnTo>
                  <a:pt x="5147" y="1298"/>
                </a:lnTo>
                <a:lnTo>
                  <a:pt x="5147" y="1298"/>
                </a:lnTo>
                <a:lnTo>
                  <a:pt x="5149" y="1298"/>
                </a:lnTo>
                <a:lnTo>
                  <a:pt x="5153" y="1296"/>
                </a:lnTo>
                <a:lnTo>
                  <a:pt x="5153" y="1294"/>
                </a:lnTo>
                <a:lnTo>
                  <a:pt x="5154" y="1291"/>
                </a:lnTo>
                <a:lnTo>
                  <a:pt x="5154" y="928"/>
                </a:lnTo>
                <a:lnTo>
                  <a:pt x="5154" y="928"/>
                </a:lnTo>
                <a:lnTo>
                  <a:pt x="5153" y="896"/>
                </a:lnTo>
                <a:lnTo>
                  <a:pt x="5149" y="866"/>
                </a:lnTo>
                <a:lnTo>
                  <a:pt x="5144" y="835"/>
                </a:lnTo>
                <a:lnTo>
                  <a:pt x="5137" y="806"/>
                </a:lnTo>
                <a:lnTo>
                  <a:pt x="5129" y="780"/>
                </a:lnTo>
                <a:lnTo>
                  <a:pt x="5117" y="753"/>
                </a:lnTo>
                <a:lnTo>
                  <a:pt x="5103" y="729"/>
                </a:lnTo>
                <a:lnTo>
                  <a:pt x="5086" y="706"/>
                </a:lnTo>
                <a:lnTo>
                  <a:pt x="5068" y="686"/>
                </a:lnTo>
                <a:lnTo>
                  <a:pt x="5046" y="669"/>
                </a:lnTo>
                <a:lnTo>
                  <a:pt x="5024" y="651"/>
                </a:lnTo>
                <a:lnTo>
                  <a:pt x="4998" y="638"/>
                </a:lnTo>
                <a:lnTo>
                  <a:pt x="4969" y="627"/>
                </a:lnTo>
                <a:lnTo>
                  <a:pt x="4938" y="620"/>
                </a:lnTo>
                <a:lnTo>
                  <a:pt x="4905" y="615"/>
                </a:lnTo>
                <a:lnTo>
                  <a:pt x="4869" y="614"/>
                </a:lnTo>
                <a:lnTo>
                  <a:pt x="4869" y="614"/>
                </a:lnTo>
                <a:close/>
                <a:moveTo>
                  <a:pt x="5615" y="627"/>
                </a:moveTo>
                <a:lnTo>
                  <a:pt x="5474" y="627"/>
                </a:lnTo>
                <a:lnTo>
                  <a:pt x="5474" y="627"/>
                </a:lnTo>
                <a:lnTo>
                  <a:pt x="5472" y="626"/>
                </a:lnTo>
                <a:lnTo>
                  <a:pt x="5470" y="624"/>
                </a:lnTo>
                <a:lnTo>
                  <a:pt x="5469" y="622"/>
                </a:lnTo>
                <a:lnTo>
                  <a:pt x="5469" y="620"/>
                </a:lnTo>
                <a:lnTo>
                  <a:pt x="5469" y="440"/>
                </a:lnTo>
                <a:lnTo>
                  <a:pt x="5469" y="440"/>
                </a:lnTo>
                <a:lnTo>
                  <a:pt x="5467" y="438"/>
                </a:lnTo>
                <a:lnTo>
                  <a:pt x="5467" y="437"/>
                </a:lnTo>
                <a:lnTo>
                  <a:pt x="5464" y="435"/>
                </a:lnTo>
                <a:lnTo>
                  <a:pt x="5462" y="435"/>
                </a:lnTo>
                <a:lnTo>
                  <a:pt x="5331" y="435"/>
                </a:lnTo>
                <a:lnTo>
                  <a:pt x="5331" y="435"/>
                </a:lnTo>
                <a:lnTo>
                  <a:pt x="5328" y="435"/>
                </a:lnTo>
                <a:lnTo>
                  <a:pt x="5326" y="437"/>
                </a:lnTo>
                <a:lnTo>
                  <a:pt x="5324" y="438"/>
                </a:lnTo>
                <a:lnTo>
                  <a:pt x="5324" y="440"/>
                </a:lnTo>
                <a:lnTo>
                  <a:pt x="5324" y="620"/>
                </a:lnTo>
                <a:lnTo>
                  <a:pt x="5324" y="620"/>
                </a:lnTo>
                <a:lnTo>
                  <a:pt x="5324" y="622"/>
                </a:lnTo>
                <a:lnTo>
                  <a:pt x="5323" y="624"/>
                </a:lnTo>
                <a:lnTo>
                  <a:pt x="5321" y="626"/>
                </a:lnTo>
                <a:lnTo>
                  <a:pt x="5318" y="627"/>
                </a:lnTo>
                <a:lnTo>
                  <a:pt x="5206" y="627"/>
                </a:lnTo>
                <a:lnTo>
                  <a:pt x="5206" y="627"/>
                </a:lnTo>
                <a:lnTo>
                  <a:pt x="5202" y="627"/>
                </a:lnTo>
                <a:lnTo>
                  <a:pt x="5201" y="629"/>
                </a:lnTo>
                <a:lnTo>
                  <a:pt x="5199" y="631"/>
                </a:lnTo>
                <a:lnTo>
                  <a:pt x="5199" y="633"/>
                </a:lnTo>
                <a:lnTo>
                  <a:pt x="5199" y="739"/>
                </a:lnTo>
                <a:lnTo>
                  <a:pt x="5199" y="739"/>
                </a:lnTo>
                <a:lnTo>
                  <a:pt x="5199" y="743"/>
                </a:lnTo>
                <a:lnTo>
                  <a:pt x="5201" y="744"/>
                </a:lnTo>
                <a:lnTo>
                  <a:pt x="5202" y="746"/>
                </a:lnTo>
                <a:lnTo>
                  <a:pt x="5206" y="746"/>
                </a:lnTo>
                <a:lnTo>
                  <a:pt x="5318" y="746"/>
                </a:lnTo>
                <a:lnTo>
                  <a:pt x="5318" y="746"/>
                </a:lnTo>
                <a:lnTo>
                  <a:pt x="5321" y="746"/>
                </a:lnTo>
                <a:lnTo>
                  <a:pt x="5323" y="748"/>
                </a:lnTo>
                <a:lnTo>
                  <a:pt x="5324" y="749"/>
                </a:lnTo>
                <a:lnTo>
                  <a:pt x="5324" y="753"/>
                </a:lnTo>
                <a:lnTo>
                  <a:pt x="5324" y="1110"/>
                </a:lnTo>
                <a:lnTo>
                  <a:pt x="5324" y="1110"/>
                </a:lnTo>
                <a:lnTo>
                  <a:pt x="5326" y="1134"/>
                </a:lnTo>
                <a:lnTo>
                  <a:pt x="5328" y="1157"/>
                </a:lnTo>
                <a:lnTo>
                  <a:pt x="5330" y="1177"/>
                </a:lnTo>
                <a:lnTo>
                  <a:pt x="5335" y="1196"/>
                </a:lnTo>
                <a:lnTo>
                  <a:pt x="5342" y="1213"/>
                </a:lnTo>
                <a:lnTo>
                  <a:pt x="5349" y="1229"/>
                </a:lnTo>
                <a:lnTo>
                  <a:pt x="5357" y="1243"/>
                </a:lnTo>
                <a:lnTo>
                  <a:pt x="5367" y="1255"/>
                </a:lnTo>
                <a:lnTo>
                  <a:pt x="5379" y="1265"/>
                </a:lnTo>
                <a:lnTo>
                  <a:pt x="5393" y="1274"/>
                </a:lnTo>
                <a:lnTo>
                  <a:pt x="5409" y="1281"/>
                </a:lnTo>
                <a:lnTo>
                  <a:pt x="5426" y="1287"/>
                </a:lnTo>
                <a:lnTo>
                  <a:pt x="5443" y="1293"/>
                </a:lnTo>
                <a:lnTo>
                  <a:pt x="5464" y="1296"/>
                </a:lnTo>
                <a:lnTo>
                  <a:pt x="5486" y="1298"/>
                </a:lnTo>
                <a:lnTo>
                  <a:pt x="5510" y="1298"/>
                </a:lnTo>
                <a:lnTo>
                  <a:pt x="5615" y="1298"/>
                </a:lnTo>
                <a:lnTo>
                  <a:pt x="5615" y="1298"/>
                </a:lnTo>
                <a:lnTo>
                  <a:pt x="5617" y="1298"/>
                </a:lnTo>
                <a:lnTo>
                  <a:pt x="5618" y="1296"/>
                </a:lnTo>
                <a:lnTo>
                  <a:pt x="5620" y="1294"/>
                </a:lnTo>
                <a:lnTo>
                  <a:pt x="5620" y="1291"/>
                </a:lnTo>
                <a:lnTo>
                  <a:pt x="5620" y="1176"/>
                </a:lnTo>
                <a:lnTo>
                  <a:pt x="5620" y="1176"/>
                </a:lnTo>
                <a:lnTo>
                  <a:pt x="5620" y="1174"/>
                </a:lnTo>
                <a:lnTo>
                  <a:pt x="5618" y="1171"/>
                </a:lnTo>
                <a:lnTo>
                  <a:pt x="5617" y="1171"/>
                </a:lnTo>
                <a:lnTo>
                  <a:pt x="5615" y="1169"/>
                </a:lnTo>
                <a:lnTo>
                  <a:pt x="5527" y="1169"/>
                </a:lnTo>
                <a:lnTo>
                  <a:pt x="5527" y="1169"/>
                </a:lnTo>
                <a:lnTo>
                  <a:pt x="5513" y="1169"/>
                </a:lnTo>
                <a:lnTo>
                  <a:pt x="5501" y="1165"/>
                </a:lnTo>
                <a:lnTo>
                  <a:pt x="5491" y="1160"/>
                </a:lnTo>
                <a:lnTo>
                  <a:pt x="5483" y="1155"/>
                </a:lnTo>
                <a:lnTo>
                  <a:pt x="5476" y="1146"/>
                </a:lnTo>
                <a:lnTo>
                  <a:pt x="5472" y="1138"/>
                </a:lnTo>
                <a:lnTo>
                  <a:pt x="5469" y="1128"/>
                </a:lnTo>
                <a:lnTo>
                  <a:pt x="5469" y="1116"/>
                </a:lnTo>
                <a:lnTo>
                  <a:pt x="5469" y="753"/>
                </a:lnTo>
                <a:lnTo>
                  <a:pt x="5469" y="753"/>
                </a:lnTo>
                <a:lnTo>
                  <a:pt x="5469" y="749"/>
                </a:lnTo>
                <a:lnTo>
                  <a:pt x="5470" y="748"/>
                </a:lnTo>
                <a:lnTo>
                  <a:pt x="5472" y="746"/>
                </a:lnTo>
                <a:lnTo>
                  <a:pt x="5474" y="746"/>
                </a:lnTo>
                <a:lnTo>
                  <a:pt x="5615" y="746"/>
                </a:lnTo>
                <a:lnTo>
                  <a:pt x="5615" y="746"/>
                </a:lnTo>
                <a:lnTo>
                  <a:pt x="5617" y="746"/>
                </a:lnTo>
                <a:lnTo>
                  <a:pt x="5618" y="744"/>
                </a:lnTo>
                <a:lnTo>
                  <a:pt x="5620" y="743"/>
                </a:lnTo>
                <a:lnTo>
                  <a:pt x="5620" y="739"/>
                </a:lnTo>
                <a:lnTo>
                  <a:pt x="5620" y="633"/>
                </a:lnTo>
                <a:lnTo>
                  <a:pt x="5620" y="633"/>
                </a:lnTo>
                <a:lnTo>
                  <a:pt x="5620" y="631"/>
                </a:lnTo>
                <a:lnTo>
                  <a:pt x="5618" y="629"/>
                </a:lnTo>
                <a:lnTo>
                  <a:pt x="5617" y="627"/>
                </a:lnTo>
                <a:lnTo>
                  <a:pt x="5615" y="627"/>
                </a:lnTo>
                <a:lnTo>
                  <a:pt x="5615" y="627"/>
                </a:lnTo>
                <a:close/>
                <a:moveTo>
                  <a:pt x="6582" y="627"/>
                </a:moveTo>
                <a:lnTo>
                  <a:pt x="6453" y="627"/>
                </a:lnTo>
                <a:lnTo>
                  <a:pt x="6453" y="627"/>
                </a:lnTo>
                <a:lnTo>
                  <a:pt x="6452" y="627"/>
                </a:lnTo>
                <a:lnTo>
                  <a:pt x="6448" y="629"/>
                </a:lnTo>
                <a:lnTo>
                  <a:pt x="6448" y="631"/>
                </a:lnTo>
                <a:lnTo>
                  <a:pt x="6446" y="633"/>
                </a:lnTo>
                <a:lnTo>
                  <a:pt x="6446" y="1004"/>
                </a:lnTo>
                <a:lnTo>
                  <a:pt x="6446" y="1004"/>
                </a:lnTo>
                <a:lnTo>
                  <a:pt x="6446" y="1021"/>
                </a:lnTo>
                <a:lnTo>
                  <a:pt x="6445" y="1038"/>
                </a:lnTo>
                <a:lnTo>
                  <a:pt x="6441" y="1054"/>
                </a:lnTo>
                <a:lnTo>
                  <a:pt x="6438" y="1069"/>
                </a:lnTo>
                <a:lnTo>
                  <a:pt x="6431" y="1085"/>
                </a:lnTo>
                <a:lnTo>
                  <a:pt x="6424" y="1100"/>
                </a:lnTo>
                <a:lnTo>
                  <a:pt x="6417" y="1114"/>
                </a:lnTo>
                <a:lnTo>
                  <a:pt x="6407" y="1126"/>
                </a:lnTo>
                <a:lnTo>
                  <a:pt x="6397" y="1138"/>
                </a:lnTo>
                <a:lnTo>
                  <a:pt x="6385" y="1150"/>
                </a:lnTo>
                <a:lnTo>
                  <a:pt x="6371" y="1158"/>
                </a:lnTo>
                <a:lnTo>
                  <a:pt x="6357" y="1167"/>
                </a:lnTo>
                <a:lnTo>
                  <a:pt x="6342" y="1172"/>
                </a:lnTo>
                <a:lnTo>
                  <a:pt x="6324" y="1177"/>
                </a:lnTo>
                <a:lnTo>
                  <a:pt x="6306" y="1181"/>
                </a:lnTo>
                <a:lnTo>
                  <a:pt x="6287" y="1181"/>
                </a:lnTo>
                <a:lnTo>
                  <a:pt x="6287" y="1181"/>
                </a:lnTo>
                <a:lnTo>
                  <a:pt x="6266" y="1181"/>
                </a:lnTo>
                <a:lnTo>
                  <a:pt x="6245" y="1177"/>
                </a:lnTo>
                <a:lnTo>
                  <a:pt x="6228" y="1172"/>
                </a:lnTo>
                <a:lnTo>
                  <a:pt x="6211" y="1165"/>
                </a:lnTo>
                <a:lnTo>
                  <a:pt x="6197" y="1157"/>
                </a:lnTo>
                <a:lnTo>
                  <a:pt x="6184" y="1146"/>
                </a:lnTo>
                <a:lnTo>
                  <a:pt x="6171" y="1136"/>
                </a:lnTo>
                <a:lnTo>
                  <a:pt x="6161" y="1122"/>
                </a:lnTo>
                <a:lnTo>
                  <a:pt x="6153" y="1109"/>
                </a:lnTo>
                <a:lnTo>
                  <a:pt x="6144" y="1095"/>
                </a:lnTo>
                <a:lnTo>
                  <a:pt x="6139" y="1079"/>
                </a:lnTo>
                <a:lnTo>
                  <a:pt x="6134" y="1064"/>
                </a:lnTo>
                <a:lnTo>
                  <a:pt x="6130" y="1047"/>
                </a:lnTo>
                <a:lnTo>
                  <a:pt x="6127" y="1031"/>
                </a:lnTo>
                <a:lnTo>
                  <a:pt x="6125" y="1014"/>
                </a:lnTo>
                <a:lnTo>
                  <a:pt x="6125" y="997"/>
                </a:lnTo>
                <a:lnTo>
                  <a:pt x="6125" y="633"/>
                </a:lnTo>
                <a:lnTo>
                  <a:pt x="6125" y="633"/>
                </a:lnTo>
                <a:lnTo>
                  <a:pt x="6123" y="631"/>
                </a:lnTo>
                <a:lnTo>
                  <a:pt x="6123" y="629"/>
                </a:lnTo>
                <a:lnTo>
                  <a:pt x="6120" y="627"/>
                </a:lnTo>
                <a:lnTo>
                  <a:pt x="6118" y="627"/>
                </a:lnTo>
                <a:lnTo>
                  <a:pt x="5988" y="627"/>
                </a:lnTo>
                <a:lnTo>
                  <a:pt x="5988" y="627"/>
                </a:lnTo>
                <a:lnTo>
                  <a:pt x="5986" y="627"/>
                </a:lnTo>
                <a:lnTo>
                  <a:pt x="5982" y="629"/>
                </a:lnTo>
                <a:lnTo>
                  <a:pt x="5982" y="631"/>
                </a:lnTo>
                <a:lnTo>
                  <a:pt x="5981" y="633"/>
                </a:lnTo>
                <a:lnTo>
                  <a:pt x="5981" y="997"/>
                </a:lnTo>
                <a:lnTo>
                  <a:pt x="5981" y="997"/>
                </a:lnTo>
                <a:lnTo>
                  <a:pt x="5982" y="1028"/>
                </a:lnTo>
                <a:lnTo>
                  <a:pt x="5986" y="1059"/>
                </a:lnTo>
                <a:lnTo>
                  <a:pt x="5991" y="1088"/>
                </a:lnTo>
                <a:lnTo>
                  <a:pt x="5998" y="1117"/>
                </a:lnTo>
                <a:lnTo>
                  <a:pt x="6007" y="1145"/>
                </a:lnTo>
                <a:lnTo>
                  <a:pt x="6019" y="1171"/>
                </a:lnTo>
                <a:lnTo>
                  <a:pt x="6032" y="1195"/>
                </a:lnTo>
                <a:lnTo>
                  <a:pt x="6050" y="1217"/>
                </a:lnTo>
                <a:lnTo>
                  <a:pt x="6067" y="1238"/>
                </a:lnTo>
                <a:lnTo>
                  <a:pt x="6089" y="1256"/>
                </a:lnTo>
                <a:lnTo>
                  <a:pt x="6111" y="1272"/>
                </a:lnTo>
                <a:lnTo>
                  <a:pt x="6137" y="1286"/>
                </a:lnTo>
                <a:lnTo>
                  <a:pt x="6166" y="1296"/>
                </a:lnTo>
                <a:lnTo>
                  <a:pt x="6197" y="1305"/>
                </a:lnTo>
                <a:lnTo>
                  <a:pt x="6230" y="1310"/>
                </a:lnTo>
                <a:lnTo>
                  <a:pt x="6266" y="1311"/>
                </a:lnTo>
                <a:lnTo>
                  <a:pt x="6266" y="1311"/>
                </a:lnTo>
                <a:lnTo>
                  <a:pt x="6293" y="1310"/>
                </a:lnTo>
                <a:lnTo>
                  <a:pt x="6319" y="1305"/>
                </a:lnTo>
                <a:lnTo>
                  <a:pt x="6343" y="1298"/>
                </a:lnTo>
                <a:lnTo>
                  <a:pt x="6366" y="1289"/>
                </a:lnTo>
                <a:lnTo>
                  <a:pt x="6388" y="1279"/>
                </a:lnTo>
                <a:lnTo>
                  <a:pt x="6405" y="1265"/>
                </a:lnTo>
                <a:lnTo>
                  <a:pt x="6421" y="1253"/>
                </a:lnTo>
                <a:lnTo>
                  <a:pt x="6433" y="1239"/>
                </a:lnTo>
                <a:lnTo>
                  <a:pt x="6433" y="1239"/>
                </a:lnTo>
                <a:lnTo>
                  <a:pt x="6436" y="1238"/>
                </a:lnTo>
                <a:lnTo>
                  <a:pt x="6440" y="1236"/>
                </a:lnTo>
                <a:lnTo>
                  <a:pt x="6445" y="1238"/>
                </a:lnTo>
                <a:lnTo>
                  <a:pt x="6446" y="1241"/>
                </a:lnTo>
                <a:lnTo>
                  <a:pt x="6460" y="1291"/>
                </a:lnTo>
                <a:lnTo>
                  <a:pt x="6460" y="1291"/>
                </a:lnTo>
                <a:lnTo>
                  <a:pt x="6464" y="1296"/>
                </a:lnTo>
                <a:lnTo>
                  <a:pt x="6465" y="1298"/>
                </a:lnTo>
                <a:lnTo>
                  <a:pt x="6469" y="1298"/>
                </a:lnTo>
                <a:lnTo>
                  <a:pt x="6582" y="1298"/>
                </a:lnTo>
                <a:lnTo>
                  <a:pt x="6582" y="1298"/>
                </a:lnTo>
                <a:lnTo>
                  <a:pt x="6586" y="1298"/>
                </a:lnTo>
                <a:lnTo>
                  <a:pt x="6587" y="1296"/>
                </a:lnTo>
                <a:lnTo>
                  <a:pt x="6589" y="1294"/>
                </a:lnTo>
                <a:lnTo>
                  <a:pt x="6589" y="1291"/>
                </a:lnTo>
                <a:lnTo>
                  <a:pt x="6589" y="633"/>
                </a:lnTo>
                <a:lnTo>
                  <a:pt x="6589" y="633"/>
                </a:lnTo>
                <a:lnTo>
                  <a:pt x="6589" y="631"/>
                </a:lnTo>
                <a:lnTo>
                  <a:pt x="6587" y="629"/>
                </a:lnTo>
                <a:lnTo>
                  <a:pt x="6586" y="627"/>
                </a:lnTo>
                <a:lnTo>
                  <a:pt x="6582" y="627"/>
                </a:lnTo>
                <a:lnTo>
                  <a:pt x="6582" y="627"/>
                </a:lnTo>
                <a:close/>
                <a:moveTo>
                  <a:pt x="7417" y="614"/>
                </a:moveTo>
                <a:lnTo>
                  <a:pt x="7417" y="614"/>
                </a:lnTo>
                <a:lnTo>
                  <a:pt x="7390" y="615"/>
                </a:lnTo>
                <a:lnTo>
                  <a:pt x="7362" y="619"/>
                </a:lnTo>
                <a:lnTo>
                  <a:pt x="7336" y="626"/>
                </a:lnTo>
                <a:lnTo>
                  <a:pt x="7312" y="636"/>
                </a:lnTo>
                <a:lnTo>
                  <a:pt x="7288" y="646"/>
                </a:lnTo>
                <a:lnTo>
                  <a:pt x="7266" y="660"/>
                </a:lnTo>
                <a:lnTo>
                  <a:pt x="7247" y="676"/>
                </a:lnTo>
                <a:lnTo>
                  <a:pt x="7228" y="693"/>
                </a:lnTo>
                <a:lnTo>
                  <a:pt x="7228" y="693"/>
                </a:lnTo>
                <a:lnTo>
                  <a:pt x="7225" y="696"/>
                </a:lnTo>
                <a:lnTo>
                  <a:pt x="7221" y="696"/>
                </a:lnTo>
                <a:lnTo>
                  <a:pt x="7218" y="694"/>
                </a:lnTo>
                <a:lnTo>
                  <a:pt x="7214" y="693"/>
                </a:lnTo>
                <a:lnTo>
                  <a:pt x="7214" y="693"/>
                </a:lnTo>
                <a:lnTo>
                  <a:pt x="7197" y="674"/>
                </a:lnTo>
                <a:lnTo>
                  <a:pt x="7178" y="658"/>
                </a:lnTo>
                <a:lnTo>
                  <a:pt x="7159" y="645"/>
                </a:lnTo>
                <a:lnTo>
                  <a:pt x="7139" y="633"/>
                </a:lnTo>
                <a:lnTo>
                  <a:pt x="7115" y="624"/>
                </a:lnTo>
                <a:lnTo>
                  <a:pt x="7091" y="619"/>
                </a:lnTo>
                <a:lnTo>
                  <a:pt x="7063" y="615"/>
                </a:lnTo>
                <a:lnTo>
                  <a:pt x="7034" y="614"/>
                </a:lnTo>
                <a:lnTo>
                  <a:pt x="7034" y="614"/>
                </a:lnTo>
                <a:lnTo>
                  <a:pt x="7010" y="615"/>
                </a:lnTo>
                <a:lnTo>
                  <a:pt x="6986" y="619"/>
                </a:lnTo>
                <a:lnTo>
                  <a:pt x="6962" y="627"/>
                </a:lnTo>
                <a:lnTo>
                  <a:pt x="6941" y="636"/>
                </a:lnTo>
                <a:lnTo>
                  <a:pt x="6921" y="646"/>
                </a:lnTo>
                <a:lnTo>
                  <a:pt x="6902" y="658"/>
                </a:lnTo>
                <a:lnTo>
                  <a:pt x="6886" y="672"/>
                </a:lnTo>
                <a:lnTo>
                  <a:pt x="6874" y="684"/>
                </a:lnTo>
                <a:lnTo>
                  <a:pt x="6874" y="684"/>
                </a:lnTo>
                <a:lnTo>
                  <a:pt x="6871" y="688"/>
                </a:lnTo>
                <a:lnTo>
                  <a:pt x="6866" y="689"/>
                </a:lnTo>
                <a:lnTo>
                  <a:pt x="6862" y="688"/>
                </a:lnTo>
                <a:lnTo>
                  <a:pt x="6859" y="684"/>
                </a:lnTo>
                <a:lnTo>
                  <a:pt x="6847" y="634"/>
                </a:lnTo>
                <a:lnTo>
                  <a:pt x="6847" y="634"/>
                </a:lnTo>
                <a:lnTo>
                  <a:pt x="6845" y="631"/>
                </a:lnTo>
                <a:lnTo>
                  <a:pt x="6843" y="629"/>
                </a:lnTo>
                <a:lnTo>
                  <a:pt x="6840" y="627"/>
                </a:lnTo>
                <a:lnTo>
                  <a:pt x="6836" y="627"/>
                </a:lnTo>
                <a:lnTo>
                  <a:pt x="6725" y="627"/>
                </a:lnTo>
                <a:lnTo>
                  <a:pt x="6725" y="627"/>
                </a:lnTo>
                <a:lnTo>
                  <a:pt x="6721" y="627"/>
                </a:lnTo>
                <a:lnTo>
                  <a:pt x="6720" y="629"/>
                </a:lnTo>
                <a:lnTo>
                  <a:pt x="6718" y="631"/>
                </a:lnTo>
                <a:lnTo>
                  <a:pt x="6718" y="633"/>
                </a:lnTo>
                <a:lnTo>
                  <a:pt x="6718" y="1291"/>
                </a:lnTo>
                <a:lnTo>
                  <a:pt x="6718" y="1291"/>
                </a:lnTo>
                <a:lnTo>
                  <a:pt x="6718" y="1294"/>
                </a:lnTo>
                <a:lnTo>
                  <a:pt x="6720" y="1296"/>
                </a:lnTo>
                <a:lnTo>
                  <a:pt x="6721" y="1298"/>
                </a:lnTo>
                <a:lnTo>
                  <a:pt x="6725" y="1298"/>
                </a:lnTo>
                <a:lnTo>
                  <a:pt x="6854" y="1298"/>
                </a:lnTo>
                <a:lnTo>
                  <a:pt x="6854" y="1298"/>
                </a:lnTo>
                <a:lnTo>
                  <a:pt x="6855" y="1298"/>
                </a:lnTo>
                <a:lnTo>
                  <a:pt x="6857" y="1296"/>
                </a:lnTo>
                <a:lnTo>
                  <a:pt x="6859" y="1294"/>
                </a:lnTo>
                <a:lnTo>
                  <a:pt x="6859" y="1291"/>
                </a:lnTo>
                <a:lnTo>
                  <a:pt x="6859" y="925"/>
                </a:lnTo>
                <a:lnTo>
                  <a:pt x="6859" y="925"/>
                </a:lnTo>
                <a:lnTo>
                  <a:pt x="6860" y="889"/>
                </a:lnTo>
                <a:lnTo>
                  <a:pt x="6864" y="871"/>
                </a:lnTo>
                <a:lnTo>
                  <a:pt x="6866" y="856"/>
                </a:lnTo>
                <a:lnTo>
                  <a:pt x="6871" y="839"/>
                </a:lnTo>
                <a:lnTo>
                  <a:pt x="6876" y="825"/>
                </a:lnTo>
                <a:lnTo>
                  <a:pt x="6881" y="810"/>
                </a:lnTo>
                <a:lnTo>
                  <a:pt x="6888" y="798"/>
                </a:lnTo>
                <a:lnTo>
                  <a:pt x="6897" y="786"/>
                </a:lnTo>
                <a:lnTo>
                  <a:pt x="6907" y="775"/>
                </a:lnTo>
                <a:lnTo>
                  <a:pt x="6917" y="765"/>
                </a:lnTo>
                <a:lnTo>
                  <a:pt x="6929" y="758"/>
                </a:lnTo>
                <a:lnTo>
                  <a:pt x="6943" y="751"/>
                </a:lnTo>
                <a:lnTo>
                  <a:pt x="6958" y="748"/>
                </a:lnTo>
                <a:lnTo>
                  <a:pt x="6976" y="744"/>
                </a:lnTo>
                <a:lnTo>
                  <a:pt x="6993" y="743"/>
                </a:lnTo>
                <a:lnTo>
                  <a:pt x="6993" y="743"/>
                </a:lnTo>
                <a:lnTo>
                  <a:pt x="7013" y="744"/>
                </a:lnTo>
                <a:lnTo>
                  <a:pt x="7031" y="748"/>
                </a:lnTo>
                <a:lnTo>
                  <a:pt x="7046" y="753"/>
                </a:lnTo>
                <a:lnTo>
                  <a:pt x="7060" y="758"/>
                </a:lnTo>
                <a:lnTo>
                  <a:pt x="7074" y="767"/>
                </a:lnTo>
                <a:lnTo>
                  <a:pt x="7084" y="777"/>
                </a:lnTo>
                <a:lnTo>
                  <a:pt x="7092" y="787"/>
                </a:lnTo>
                <a:lnTo>
                  <a:pt x="7101" y="799"/>
                </a:lnTo>
                <a:lnTo>
                  <a:pt x="7108" y="813"/>
                </a:lnTo>
                <a:lnTo>
                  <a:pt x="7113" y="827"/>
                </a:lnTo>
                <a:lnTo>
                  <a:pt x="7118" y="842"/>
                </a:lnTo>
                <a:lnTo>
                  <a:pt x="7122" y="858"/>
                </a:lnTo>
                <a:lnTo>
                  <a:pt x="7127" y="890"/>
                </a:lnTo>
                <a:lnTo>
                  <a:pt x="7127" y="925"/>
                </a:lnTo>
                <a:lnTo>
                  <a:pt x="7127" y="1291"/>
                </a:lnTo>
                <a:lnTo>
                  <a:pt x="7127" y="1291"/>
                </a:lnTo>
                <a:lnTo>
                  <a:pt x="7128" y="1294"/>
                </a:lnTo>
                <a:lnTo>
                  <a:pt x="7128" y="1296"/>
                </a:lnTo>
                <a:lnTo>
                  <a:pt x="7130" y="1298"/>
                </a:lnTo>
                <a:lnTo>
                  <a:pt x="7134" y="1298"/>
                </a:lnTo>
                <a:lnTo>
                  <a:pt x="7264" y="1298"/>
                </a:lnTo>
                <a:lnTo>
                  <a:pt x="7264" y="1298"/>
                </a:lnTo>
                <a:lnTo>
                  <a:pt x="7268" y="1296"/>
                </a:lnTo>
                <a:lnTo>
                  <a:pt x="7269" y="1294"/>
                </a:lnTo>
                <a:lnTo>
                  <a:pt x="7271" y="1291"/>
                </a:lnTo>
                <a:lnTo>
                  <a:pt x="7271" y="925"/>
                </a:lnTo>
                <a:lnTo>
                  <a:pt x="7271" y="925"/>
                </a:lnTo>
                <a:lnTo>
                  <a:pt x="7273" y="889"/>
                </a:lnTo>
                <a:lnTo>
                  <a:pt x="7276" y="856"/>
                </a:lnTo>
                <a:lnTo>
                  <a:pt x="7280" y="839"/>
                </a:lnTo>
                <a:lnTo>
                  <a:pt x="7285" y="825"/>
                </a:lnTo>
                <a:lnTo>
                  <a:pt x="7290" y="810"/>
                </a:lnTo>
                <a:lnTo>
                  <a:pt x="7297" y="798"/>
                </a:lnTo>
                <a:lnTo>
                  <a:pt x="7305" y="786"/>
                </a:lnTo>
                <a:lnTo>
                  <a:pt x="7314" y="775"/>
                </a:lnTo>
                <a:lnTo>
                  <a:pt x="7324" y="765"/>
                </a:lnTo>
                <a:lnTo>
                  <a:pt x="7338" y="758"/>
                </a:lnTo>
                <a:lnTo>
                  <a:pt x="7352" y="751"/>
                </a:lnTo>
                <a:lnTo>
                  <a:pt x="7367" y="748"/>
                </a:lnTo>
                <a:lnTo>
                  <a:pt x="7384" y="744"/>
                </a:lnTo>
                <a:lnTo>
                  <a:pt x="7403" y="743"/>
                </a:lnTo>
                <a:lnTo>
                  <a:pt x="7403" y="743"/>
                </a:lnTo>
                <a:lnTo>
                  <a:pt x="7424" y="744"/>
                </a:lnTo>
                <a:lnTo>
                  <a:pt x="7441" y="748"/>
                </a:lnTo>
                <a:lnTo>
                  <a:pt x="7457" y="753"/>
                </a:lnTo>
                <a:lnTo>
                  <a:pt x="7472" y="760"/>
                </a:lnTo>
                <a:lnTo>
                  <a:pt x="7484" y="767"/>
                </a:lnTo>
                <a:lnTo>
                  <a:pt x="7494" y="777"/>
                </a:lnTo>
                <a:lnTo>
                  <a:pt x="7505" y="789"/>
                </a:lnTo>
                <a:lnTo>
                  <a:pt x="7513" y="801"/>
                </a:lnTo>
                <a:lnTo>
                  <a:pt x="7520" y="813"/>
                </a:lnTo>
                <a:lnTo>
                  <a:pt x="7525" y="828"/>
                </a:lnTo>
                <a:lnTo>
                  <a:pt x="7531" y="842"/>
                </a:lnTo>
                <a:lnTo>
                  <a:pt x="7534" y="859"/>
                </a:lnTo>
                <a:lnTo>
                  <a:pt x="7537" y="892"/>
                </a:lnTo>
                <a:lnTo>
                  <a:pt x="7539" y="925"/>
                </a:lnTo>
                <a:lnTo>
                  <a:pt x="7539" y="1291"/>
                </a:lnTo>
                <a:lnTo>
                  <a:pt x="7539" y="1291"/>
                </a:lnTo>
                <a:lnTo>
                  <a:pt x="7539" y="1294"/>
                </a:lnTo>
                <a:lnTo>
                  <a:pt x="7541" y="1296"/>
                </a:lnTo>
                <a:lnTo>
                  <a:pt x="7543" y="1298"/>
                </a:lnTo>
                <a:lnTo>
                  <a:pt x="7546" y="1298"/>
                </a:lnTo>
                <a:lnTo>
                  <a:pt x="7673" y="1298"/>
                </a:lnTo>
                <a:lnTo>
                  <a:pt x="7673" y="1298"/>
                </a:lnTo>
                <a:lnTo>
                  <a:pt x="7677" y="1298"/>
                </a:lnTo>
                <a:lnTo>
                  <a:pt x="7678" y="1296"/>
                </a:lnTo>
                <a:lnTo>
                  <a:pt x="7680" y="1294"/>
                </a:lnTo>
                <a:lnTo>
                  <a:pt x="7680" y="1291"/>
                </a:lnTo>
                <a:lnTo>
                  <a:pt x="7680" y="921"/>
                </a:lnTo>
                <a:lnTo>
                  <a:pt x="7680" y="921"/>
                </a:lnTo>
                <a:lnTo>
                  <a:pt x="7680" y="883"/>
                </a:lnTo>
                <a:lnTo>
                  <a:pt x="7677" y="849"/>
                </a:lnTo>
                <a:lnTo>
                  <a:pt x="7671" y="818"/>
                </a:lnTo>
                <a:lnTo>
                  <a:pt x="7663" y="787"/>
                </a:lnTo>
                <a:lnTo>
                  <a:pt x="7654" y="760"/>
                </a:lnTo>
                <a:lnTo>
                  <a:pt x="7642" y="734"/>
                </a:lnTo>
                <a:lnTo>
                  <a:pt x="7628" y="712"/>
                </a:lnTo>
                <a:lnTo>
                  <a:pt x="7613" y="691"/>
                </a:lnTo>
                <a:lnTo>
                  <a:pt x="7594" y="672"/>
                </a:lnTo>
                <a:lnTo>
                  <a:pt x="7575" y="657"/>
                </a:lnTo>
                <a:lnTo>
                  <a:pt x="7553" y="645"/>
                </a:lnTo>
                <a:lnTo>
                  <a:pt x="7529" y="633"/>
                </a:lnTo>
                <a:lnTo>
                  <a:pt x="7505" y="624"/>
                </a:lnTo>
                <a:lnTo>
                  <a:pt x="7477" y="619"/>
                </a:lnTo>
                <a:lnTo>
                  <a:pt x="7448" y="614"/>
                </a:lnTo>
                <a:lnTo>
                  <a:pt x="7417" y="614"/>
                </a:lnTo>
                <a:lnTo>
                  <a:pt x="7417" y="614"/>
                </a:lnTo>
                <a:close/>
                <a:moveTo>
                  <a:pt x="5867" y="627"/>
                </a:moveTo>
                <a:lnTo>
                  <a:pt x="5739" y="627"/>
                </a:lnTo>
                <a:lnTo>
                  <a:pt x="5739" y="627"/>
                </a:lnTo>
                <a:lnTo>
                  <a:pt x="5735" y="627"/>
                </a:lnTo>
                <a:lnTo>
                  <a:pt x="5733" y="629"/>
                </a:lnTo>
                <a:lnTo>
                  <a:pt x="5732" y="631"/>
                </a:lnTo>
                <a:lnTo>
                  <a:pt x="5732" y="633"/>
                </a:lnTo>
                <a:lnTo>
                  <a:pt x="5732" y="1291"/>
                </a:lnTo>
                <a:lnTo>
                  <a:pt x="5732" y="1291"/>
                </a:lnTo>
                <a:lnTo>
                  <a:pt x="5732" y="1294"/>
                </a:lnTo>
                <a:lnTo>
                  <a:pt x="5733" y="1296"/>
                </a:lnTo>
                <a:lnTo>
                  <a:pt x="5735" y="1298"/>
                </a:lnTo>
                <a:lnTo>
                  <a:pt x="5739" y="1298"/>
                </a:lnTo>
                <a:lnTo>
                  <a:pt x="5867" y="1298"/>
                </a:lnTo>
                <a:lnTo>
                  <a:pt x="5867" y="1298"/>
                </a:lnTo>
                <a:lnTo>
                  <a:pt x="5871" y="1298"/>
                </a:lnTo>
                <a:lnTo>
                  <a:pt x="5873" y="1296"/>
                </a:lnTo>
                <a:lnTo>
                  <a:pt x="5874" y="1294"/>
                </a:lnTo>
                <a:lnTo>
                  <a:pt x="5874" y="1291"/>
                </a:lnTo>
                <a:lnTo>
                  <a:pt x="5874" y="633"/>
                </a:lnTo>
                <a:lnTo>
                  <a:pt x="5874" y="633"/>
                </a:lnTo>
                <a:lnTo>
                  <a:pt x="5874" y="631"/>
                </a:lnTo>
                <a:lnTo>
                  <a:pt x="5873" y="629"/>
                </a:lnTo>
                <a:lnTo>
                  <a:pt x="5871" y="627"/>
                </a:lnTo>
                <a:lnTo>
                  <a:pt x="5867" y="627"/>
                </a:lnTo>
                <a:lnTo>
                  <a:pt x="5867" y="627"/>
                </a:lnTo>
                <a:close/>
                <a:moveTo>
                  <a:pt x="5804" y="368"/>
                </a:moveTo>
                <a:lnTo>
                  <a:pt x="5804" y="368"/>
                </a:lnTo>
                <a:lnTo>
                  <a:pt x="5785" y="370"/>
                </a:lnTo>
                <a:lnTo>
                  <a:pt x="5769" y="375"/>
                </a:lnTo>
                <a:lnTo>
                  <a:pt x="5754" y="382"/>
                </a:lnTo>
                <a:lnTo>
                  <a:pt x="5742" y="392"/>
                </a:lnTo>
                <a:lnTo>
                  <a:pt x="5732" y="406"/>
                </a:lnTo>
                <a:lnTo>
                  <a:pt x="5723" y="419"/>
                </a:lnTo>
                <a:lnTo>
                  <a:pt x="5718" y="437"/>
                </a:lnTo>
                <a:lnTo>
                  <a:pt x="5716" y="454"/>
                </a:lnTo>
                <a:lnTo>
                  <a:pt x="5716" y="454"/>
                </a:lnTo>
                <a:lnTo>
                  <a:pt x="5718" y="471"/>
                </a:lnTo>
                <a:lnTo>
                  <a:pt x="5723" y="486"/>
                </a:lnTo>
                <a:lnTo>
                  <a:pt x="5732" y="502"/>
                </a:lnTo>
                <a:lnTo>
                  <a:pt x="5742" y="514"/>
                </a:lnTo>
                <a:lnTo>
                  <a:pt x="5754" y="524"/>
                </a:lnTo>
                <a:lnTo>
                  <a:pt x="5769" y="533"/>
                </a:lnTo>
                <a:lnTo>
                  <a:pt x="5785" y="538"/>
                </a:lnTo>
                <a:lnTo>
                  <a:pt x="5804" y="540"/>
                </a:lnTo>
                <a:lnTo>
                  <a:pt x="5804" y="540"/>
                </a:lnTo>
                <a:lnTo>
                  <a:pt x="5821" y="538"/>
                </a:lnTo>
                <a:lnTo>
                  <a:pt x="5836" y="533"/>
                </a:lnTo>
                <a:lnTo>
                  <a:pt x="5852" y="524"/>
                </a:lnTo>
                <a:lnTo>
                  <a:pt x="5864" y="514"/>
                </a:lnTo>
                <a:lnTo>
                  <a:pt x="5874" y="502"/>
                </a:lnTo>
                <a:lnTo>
                  <a:pt x="5883" y="486"/>
                </a:lnTo>
                <a:lnTo>
                  <a:pt x="5888" y="471"/>
                </a:lnTo>
                <a:lnTo>
                  <a:pt x="5890" y="454"/>
                </a:lnTo>
                <a:lnTo>
                  <a:pt x="5890" y="454"/>
                </a:lnTo>
                <a:lnTo>
                  <a:pt x="5888" y="437"/>
                </a:lnTo>
                <a:lnTo>
                  <a:pt x="5883" y="419"/>
                </a:lnTo>
                <a:lnTo>
                  <a:pt x="5874" y="406"/>
                </a:lnTo>
                <a:lnTo>
                  <a:pt x="5864" y="392"/>
                </a:lnTo>
                <a:lnTo>
                  <a:pt x="5852" y="382"/>
                </a:lnTo>
                <a:lnTo>
                  <a:pt x="5836" y="375"/>
                </a:lnTo>
                <a:lnTo>
                  <a:pt x="5821" y="370"/>
                </a:lnTo>
                <a:lnTo>
                  <a:pt x="5804" y="368"/>
                </a:lnTo>
                <a:lnTo>
                  <a:pt x="5804" y="368"/>
                </a:lnTo>
                <a:close/>
                <a:moveTo>
                  <a:pt x="967" y="0"/>
                </a:moveTo>
                <a:lnTo>
                  <a:pt x="967" y="0"/>
                </a:lnTo>
                <a:lnTo>
                  <a:pt x="917" y="0"/>
                </a:lnTo>
                <a:lnTo>
                  <a:pt x="868" y="5"/>
                </a:lnTo>
                <a:lnTo>
                  <a:pt x="820" y="10"/>
                </a:lnTo>
                <a:lnTo>
                  <a:pt x="771" y="19"/>
                </a:lnTo>
                <a:lnTo>
                  <a:pt x="725" y="29"/>
                </a:lnTo>
                <a:lnTo>
                  <a:pt x="679" y="43"/>
                </a:lnTo>
                <a:lnTo>
                  <a:pt x="634" y="58"/>
                </a:lnTo>
                <a:lnTo>
                  <a:pt x="591" y="76"/>
                </a:lnTo>
                <a:lnTo>
                  <a:pt x="548" y="95"/>
                </a:lnTo>
                <a:lnTo>
                  <a:pt x="505" y="117"/>
                </a:lnTo>
                <a:lnTo>
                  <a:pt x="466" y="139"/>
                </a:lnTo>
                <a:lnTo>
                  <a:pt x="426" y="165"/>
                </a:lnTo>
                <a:lnTo>
                  <a:pt x="388" y="193"/>
                </a:lnTo>
                <a:lnTo>
                  <a:pt x="352" y="220"/>
                </a:lnTo>
                <a:lnTo>
                  <a:pt x="316" y="251"/>
                </a:lnTo>
                <a:lnTo>
                  <a:pt x="283" y="284"/>
                </a:lnTo>
                <a:lnTo>
                  <a:pt x="251" y="316"/>
                </a:lnTo>
                <a:lnTo>
                  <a:pt x="220" y="352"/>
                </a:lnTo>
                <a:lnTo>
                  <a:pt x="192" y="388"/>
                </a:lnTo>
                <a:lnTo>
                  <a:pt x="165" y="426"/>
                </a:lnTo>
                <a:lnTo>
                  <a:pt x="139" y="466"/>
                </a:lnTo>
                <a:lnTo>
                  <a:pt x="117" y="505"/>
                </a:lnTo>
                <a:lnTo>
                  <a:pt x="94" y="548"/>
                </a:lnTo>
                <a:lnTo>
                  <a:pt x="76" y="591"/>
                </a:lnTo>
                <a:lnTo>
                  <a:pt x="58" y="634"/>
                </a:lnTo>
                <a:lnTo>
                  <a:pt x="43" y="679"/>
                </a:lnTo>
                <a:lnTo>
                  <a:pt x="29" y="725"/>
                </a:lnTo>
                <a:lnTo>
                  <a:pt x="19" y="772"/>
                </a:lnTo>
                <a:lnTo>
                  <a:pt x="10" y="820"/>
                </a:lnTo>
                <a:lnTo>
                  <a:pt x="5" y="868"/>
                </a:lnTo>
                <a:lnTo>
                  <a:pt x="0" y="918"/>
                </a:lnTo>
                <a:lnTo>
                  <a:pt x="0" y="968"/>
                </a:lnTo>
                <a:lnTo>
                  <a:pt x="0" y="968"/>
                </a:lnTo>
                <a:lnTo>
                  <a:pt x="0" y="1018"/>
                </a:lnTo>
                <a:lnTo>
                  <a:pt x="5" y="1067"/>
                </a:lnTo>
                <a:lnTo>
                  <a:pt x="10" y="1116"/>
                </a:lnTo>
                <a:lnTo>
                  <a:pt x="19" y="1162"/>
                </a:lnTo>
                <a:lnTo>
                  <a:pt x="29" y="1210"/>
                </a:lnTo>
                <a:lnTo>
                  <a:pt x="43" y="1255"/>
                </a:lnTo>
                <a:lnTo>
                  <a:pt x="58" y="1301"/>
                </a:lnTo>
                <a:lnTo>
                  <a:pt x="76" y="1344"/>
                </a:lnTo>
                <a:lnTo>
                  <a:pt x="94" y="1387"/>
                </a:lnTo>
                <a:lnTo>
                  <a:pt x="117" y="1428"/>
                </a:lnTo>
                <a:lnTo>
                  <a:pt x="139" y="1470"/>
                </a:lnTo>
                <a:lnTo>
                  <a:pt x="165" y="1509"/>
                </a:lnTo>
                <a:lnTo>
                  <a:pt x="192" y="1547"/>
                </a:lnTo>
                <a:lnTo>
                  <a:pt x="220" y="1583"/>
                </a:lnTo>
                <a:lnTo>
                  <a:pt x="251" y="1619"/>
                </a:lnTo>
                <a:lnTo>
                  <a:pt x="283" y="1652"/>
                </a:lnTo>
                <a:lnTo>
                  <a:pt x="316" y="1684"/>
                </a:lnTo>
                <a:lnTo>
                  <a:pt x="352" y="1715"/>
                </a:lnTo>
                <a:lnTo>
                  <a:pt x="388" y="1743"/>
                </a:lnTo>
                <a:lnTo>
                  <a:pt x="426" y="1770"/>
                </a:lnTo>
                <a:lnTo>
                  <a:pt x="466" y="1796"/>
                </a:lnTo>
                <a:lnTo>
                  <a:pt x="505" y="1819"/>
                </a:lnTo>
                <a:lnTo>
                  <a:pt x="548" y="1841"/>
                </a:lnTo>
                <a:lnTo>
                  <a:pt x="591" y="1860"/>
                </a:lnTo>
                <a:lnTo>
                  <a:pt x="634" y="1877"/>
                </a:lnTo>
                <a:lnTo>
                  <a:pt x="679" y="1892"/>
                </a:lnTo>
                <a:lnTo>
                  <a:pt x="725" y="1904"/>
                </a:lnTo>
                <a:lnTo>
                  <a:pt x="771" y="1916"/>
                </a:lnTo>
                <a:lnTo>
                  <a:pt x="820" y="1925"/>
                </a:lnTo>
                <a:lnTo>
                  <a:pt x="868" y="1930"/>
                </a:lnTo>
                <a:lnTo>
                  <a:pt x="917" y="1934"/>
                </a:lnTo>
                <a:lnTo>
                  <a:pt x="967" y="1935"/>
                </a:lnTo>
                <a:lnTo>
                  <a:pt x="967" y="1935"/>
                </a:lnTo>
                <a:lnTo>
                  <a:pt x="1017" y="1934"/>
                </a:lnTo>
                <a:lnTo>
                  <a:pt x="1067" y="1930"/>
                </a:lnTo>
                <a:lnTo>
                  <a:pt x="1115" y="1925"/>
                </a:lnTo>
                <a:lnTo>
                  <a:pt x="1161" y="1916"/>
                </a:lnTo>
                <a:lnTo>
                  <a:pt x="1210" y="1904"/>
                </a:lnTo>
                <a:lnTo>
                  <a:pt x="1254" y="1892"/>
                </a:lnTo>
                <a:lnTo>
                  <a:pt x="1301" y="1877"/>
                </a:lnTo>
                <a:lnTo>
                  <a:pt x="1344" y="1860"/>
                </a:lnTo>
                <a:lnTo>
                  <a:pt x="1387" y="1841"/>
                </a:lnTo>
                <a:lnTo>
                  <a:pt x="1428" y="1819"/>
                </a:lnTo>
                <a:lnTo>
                  <a:pt x="1469" y="1796"/>
                </a:lnTo>
                <a:lnTo>
                  <a:pt x="1509" y="1770"/>
                </a:lnTo>
                <a:lnTo>
                  <a:pt x="1546" y="1743"/>
                </a:lnTo>
                <a:lnTo>
                  <a:pt x="1582" y="1715"/>
                </a:lnTo>
                <a:lnTo>
                  <a:pt x="1618" y="1684"/>
                </a:lnTo>
                <a:lnTo>
                  <a:pt x="1651" y="1652"/>
                </a:lnTo>
                <a:lnTo>
                  <a:pt x="1684" y="1619"/>
                </a:lnTo>
                <a:lnTo>
                  <a:pt x="1715" y="1583"/>
                </a:lnTo>
                <a:lnTo>
                  <a:pt x="1742" y="1547"/>
                </a:lnTo>
                <a:lnTo>
                  <a:pt x="1770" y="1509"/>
                </a:lnTo>
                <a:lnTo>
                  <a:pt x="1795" y="1470"/>
                </a:lnTo>
                <a:lnTo>
                  <a:pt x="1818" y="1428"/>
                </a:lnTo>
                <a:lnTo>
                  <a:pt x="1840" y="1387"/>
                </a:lnTo>
                <a:lnTo>
                  <a:pt x="1859" y="1344"/>
                </a:lnTo>
                <a:lnTo>
                  <a:pt x="1876" y="1301"/>
                </a:lnTo>
                <a:lnTo>
                  <a:pt x="1892" y="1255"/>
                </a:lnTo>
                <a:lnTo>
                  <a:pt x="1904" y="1210"/>
                </a:lnTo>
                <a:lnTo>
                  <a:pt x="1916" y="1162"/>
                </a:lnTo>
                <a:lnTo>
                  <a:pt x="1924" y="1116"/>
                </a:lnTo>
                <a:lnTo>
                  <a:pt x="1929" y="1067"/>
                </a:lnTo>
                <a:lnTo>
                  <a:pt x="1933" y="1018"/>
                </a:lnTo>
                <a:lnTo>
                  <a:pt x="1935" y="968"/>
                </a:lnTo>
                <a:lnTo>
                  <a:pt x="1935" y="968"/>
                </a:lnTo>
                <a:lnTo>
                  <a:pt x="1933" y="918"/>
                </a:lnTo>
                <a:lnTo>
                  <a:pt x="1929" y="868"/>
                </a:lnTo>
                <a:lnTo>
                  <a:pt x="1924" y="820"/>
                </a:lnTo>
                <a:lnTo>
                  <a:pt x="1916" y="772"/>
                </a:lnTo>
                <a:lnTo>
                  <a:pt x="1904" y="725"/>
                </a:lnTo>
                <a:lnTo>
                  <a:pt x="1892" y="679"/>
                </a:lnTo>
                <a:lnTo>
                  <a:pt x="1876" y="634"/>
                </a:lnTo>
                <a:lnTo>
                  <a:pt x="1859" y="591"/>
                </a:lnTo>
                <a:lnTo>
                  <a:pt x="1840" y="548"/>
                </a:lnTo>
                <a:lnTo>
                  <a:pt x="1818" y="505"/>
                </a:lnTo>
                <a:lnTo>
                  <a:pt x="1795" y="466"/>
                </a:lnTo>
                <a:lnTo>
                  <a:pt x="1770" y="426"/>
                </a:lnTo>
                <a:lnTo>
                  <a:pt x="1742" y="388"/>
                </a:lnTo>
                <a:lnTo>
                  <a:pt x="1715" y="352"/>
                </a:lnTo>
                <a:lnTo>
                  <a:pt x="1684" y="316"/>
                </a:lnTo>
                <a:lnTo>
                  <a:pt x="1651" y="284"/>
                </a:lnTo>
                <a:lnTo>
                  <a:pt x="1618" y="251"/>
                </a:lnTo>
                <a:lnTo>
                  <a:pt x="1582" y="220"/>
                </a:lnTo>
                <a:lnTo>
                  <a:pt x="1546" y="193"/>
                </a:lnTo>
                <a:lnTo>
                  <a:pt x="1509" y="165"/>
                </a:lnTo>
                <a:lnTo>
                  <a:pt x="1469" y="139"/>
                </a:lnTo>
                <a:lnTo>
                  <a:pt x="1428" y="117"/>
                </a:lnTo>
                <a:lnTo>
                  <a:pt x="1387" y="95"/>
                </a:lnTo>
                <a:lnTo>
                  <a:pt x="1344" y="76"/>
                </a:lnTo>
                <a:lnTo>
                  <a:pt x="1301" y="58"/>
                </a:lnTo>
                <a:lnTo>
                  <a:pt x="1254" y="43"/>
                </a:lnTo>
                <a:lnTo>
                  <a:pt x="1210" y="29"/>
                </a:lnTo>
                <a:lnTo>
                  <a:pt x="1161" y="19"/>
                </a:lnTo>
                <a:lnTo>
                  <a:pt x="1115" y="10"/>
                </a:lnTo>
                <a:lnTo>
                  <a:pt x="1067" y="5"/>
                </a:lnTo>
                <a:lnTo>
                  <a:pt x="1017" y="0"/>
                </a:lnTo>
                <a:lnTo>
                  <a:pt x="967" y="0"/>
                </a:lnTo>
                <a:lnTo>
                  <a:pt x="967" y="0"/>
                </a:lnTo>
                <a:close/>
                <a:moveTo>
                  <a:pt x="711" y="1224"/>
                </a:moveTo>
                <a:lnTo>
                  <a:pt x="711" y="1224"/>
                </a:lnTo>
                <a:lnTo>
                  <a:pt x="686" y="1196"/>
                </a:lnTo>
                <a:lnTo>
                  <a:pt x="665" y="1167"/>
                </a:lnTo>
                <a:lnTo>
                  <a:pt x="646" y="1136"/>
                </a:lnTo>
                <a:lnTo>
                  <a:pt x="631" y="1103"/>
                </a:lnTo>
                <a:lnTo>
                  <a:pt x="619" y="1071"/>
                </a:lnTo>
                <a:lnTo>
                  <a:pt x="612" y="1036"/>
                </a:lnTo>
                <a:lnTo>
                  <a:pt x="606" y="1002"/>
                </a:lnTo>
                <a:lnTo>
                  <a:pt x="605" y="968"/>
                </a:lnTo>
                <a:lnTo>
                  <a:pt x="606" y="933"/>
                </a:lnTo>
                <a:lnTo>
                  <a:pt x="612" y="899"/>
                </a:lnTo>
                <a:lnTo>
                  <a:pt x="619" y="865"/>
                </a:lnTo>
                <a:lnTo>
                  <a:pt x="631" y="830"/>
                </a:lnTo>
                <a:lnTo>
                  <a:pt x="646" y="799"/>
                </a:lnTo>
                <a:lnTo>
                  <a:pt x="665" y="768"/>
                </a:lnTo>
                <a:lnTo>
                  <a:pt x="686" y="739"/>
                </a:lnTo>
                <a:lnTo>
                  <a:pt x="711" y="712"/>
                </a:lnTo>
                <a:lnTo>
                  <a:pt x="711" y="712"/>
                </a:lnTo>
                <a:lnTo>
                  <a:pt x="739" y="686"/>
                </a:lnTo>
                <a:lnTo>
                  <a:pt x="768" y="665"/>
                </a:lnTo>
                <a:lnTo>
                  <a:pt x="799" y="646"/>
                </a:lnTo>
                <a:lnTo>
                  <a:pt x="830" y="631"/>
                </a:lnTo>
                <a:lnTo>
                  <a:pt x="864" y="619"/>
                </a:lnTo>
                <a:lnTo>
                  <a:pt x="899" y="612"/>
                </a:lnTo>
                <a:lnTo>
                  <a:pt x="933" y="607"/>
                </a:lnTo>
                <a:lnTo>
                  <a:pt x="967" y="605"/>
                </a:lnTo>
                <a:lnTo>
                  <a:pt x="1002" y="607"/>
                </a:lnTo>
                <a:lnTo>
                  <a:pt x="1036" y="612"/>
                </a:lnTo>
                <a:lnTo>
                  <a:pt x="1070" y="619"/>
                </a:lnTo>
                <a:lnTo>
                  <a:pt x="1103" y="631"/>
                </a:lnTo>
                <a:lnTo>
                  <a:pt x="1136" y="646"/>
                </a:lnTo>
                <a:lnTo>
                  <a:pt x="1167" y="665"/>
                </a:lnTo>
                <a:lnTo>
                  <a:pt x="1196" y="686"/>
                </a:lnTo>
                <a:lnTo>
                  <a:pt x="1223" y="712"/>
                </a:lnTo>
                <a:lnTo>
                  <a:pt x="1223" y="712"/>
                </a:lnTo>
                <a:lnTo>
                  <a:pt x="1249" y="739"/>
                </a:lnTo>
                <a:lnTo>
                  <a:pt x="1270" y="768"/>
                </a:lnTo>
                <a:lnTo>
                  <a:pt x="1289" y="799"/>
                </a:lnTo>
                <a:lnTo>
                  <a:pt x="1304" y="830"/>
                </a:lnTo>
                <a:lnTo>
                  <a:pt x="1314" y="865"/>
                </a:lnTo>
                <a:lnTo>
                  <a:pt x="1323" y="899"/>
                </a:lnTo>
                <a:lnTo>
                  <a:pt x="1328" y="933"/>
                </a:lnTo>
                <a:lnTo>
                  <a:pt x="1330" y="968"/>
                </a:lnTo>
                <a:lnTo>
                  <a:pt x="1328" y="1002"/>
                </a:lnTo>
                <a:lnTo>
                  <a:pt x="1323" y="1036"/>
                </a:lnTo>
                <a:lnTo>
                  <a:pt x="1314" y="1071"/>
                </a:lnTo>
                <a:lnTo>
                  <a:pt x="1304" y="1103"/>
                </a:lnTo>
                <a:lnTo>
                  <a:pt x="1289" y="1136"/>
                </a:lnTo>
                <a:lnTo>
                  <a:pt x="1270" y="1167"/>
                </a:lnTo>
                <a:lnTo>
                  <a:pt x="1249" y="1196"/>
                </a:lnTo>
                <a:lnTo>
                  <a:pt x="1223" y="1224"/>
                </a:lnTo>
                <a:lnTo>
                  <a:pt x="1223" y="1224"/>
                </a:lnTo>
                <a:lnTo>
                  <a:pt x="1196" y="1250"/>
                </a:lnTo>
                <a:lnTo>
                  <a:pt x="1167" y="1270"/>
                </a:lnTo>
                <a:lnTo>
                  <a:pt x="1136" y="1289"/>
                </a:lnTo>
                <a:lnTo>
                  <a:pt x="1103" y="1305"/>
                </a:lnTo>
                <a:lnTo>
                  <a:pt x="1070" y="1315"/>
                </a:lnTo>
                <a:lnTo>
                  <a:pt x="1036" y="1324"/>
                </a:lnTo>
                <a:lnTo>
                  <a:pt x="1002" y="1329"/>
                </a:lnTo>
                <a:lnTo>
                  <a:pt x="967" y="1330"/>
                </a:lnTo>
                <a:lnTo>
                  <a:pt x="933" y="1329"/>
                </a:lnTo>
                <a:lnTo>
                  <a:pt x="899" y="1324"/>
                </a:lnTo>
                <a:lnTo>
                  <a:pt x="864" y="1315"/>
                </a:lnTo>
                <a:lnTo>
                  <a:pt x="830" y="1305"/>
                </a:lnTo>
                <a:lnTo>
                  <a:pt x="799" y="1289"/>
                </a:lnTo>
                <a:lnTo>
                  <a:pt x="768" y="1270"/>
                </a:lnTo>
                <a:lnTo>
                  <a:pt x="739" y="1250"/>
                </a:lnTo>
                <a:lnTo>
                  <a:pt x="711" y="1224"/>
                </a:lnTo>
                <a:lnTo>
                  <a:pt x="711" y="1224"/>
                </a:lnTo>
                <a:close/>
                <a:moveTo>
                  <a:pt x="1438" y="1619"/>
                </a:moveTo>
                <a:lnTo>
                  <a:pt x="1438" y="1619"/>
                </a:lnTo>
                <a:lnTo>
                  <a:pt x="1419" y="1619"/>
                </a:lnTo>
                <a:lnTo>
                  <a:pt x="1400" y="1616"/>
                </a:lnTo>
                <a:lnTo>
                  <a:pt x="1383" y="1612"/>
                </a:lnTo>
                <a:lnTo>
                  <a:pt x="1368" y="1605"/>
                </a:lnTo>
                <a:lnTo>
                  <a:pt x="1350" y="1599"/>
                </a:lnTo>
                <a:lnTo>
                  <a:pt x="1337" y="1588"/>
                </a:lnTo>
                <a:lnTo>
                  <a:pt x="1323" y="1578"/>
                </a:lnTo>
                <a:lnTo>
                  <a:pt x="1309" y="1566"/>
                </a:lnTo>
                <a:lnTo>
                  <a:pt x="1297" y="1554"/>
                </a:lnTo>
                <a:lnTo>
                  <a:pt x="1287" y="1540"/>
                </a:lnTo>
                <a:lnTo>
                  <a:pt x="1278" y="1525"/>
                </a:lnTo>
                <a:lnTo>
                  <a:pt x="1270" y="1509"/>
                </a:lnTo>
                <a:lnTo>
                  <a:pt x="1265" y="1492"/>
                </a:lnTo>
                <a:lnTo>
                  <a:pt x="1259" y="1475"/>
                </a:lnTo>
                <a:lnTo>
                  <a:pt x="1258" y="1458"/>
                </a:lnTo>
                <a:lnTo>
                  <a:pt x="1256" y="1439"/>
                </a:lnTo>
                <a:lnTo>
                  <a:pt x="1256" y="1439"/>
                </a:lnTo>
                <a:lnTo>
                  <a:pt x="1258" y="1420"/>
                </a:lnTo>
                <a:lnTo>
                  <a:pt x="1259" y="1401"/>
                </a:lnTo>
                <a:lnTo>
                  <a:pt x="1265" y="1384"/>
                </a:lnTo>
                <a:lnTo>
                  <a:pt x="1270" y="1368"/>
                </a:lnTo>
                <a:lnTo>
                  <a:pt x="1278" y="1351"/>
                </a:lnTo>
                <a:lnTo>
                  <a:pt x="1287" y="1337"/>
                </a:lnTo>
                <a:lnTo>
                  <a:pt x="1297" y="1324"/>
                </a:lnTo>
                <a:lnTo>
                  <a:pt x="1309" y="1310"/>
                </a:lnTo>
                <a:lnTo>
                  <a:pt x="1323" y="1298"/>
                </a:lnTo>
                <a:lnTo>
                  <a:pt x="1337" y="1287"/>
                </a:lnTo>
                <a:lnTo>
                  <a:pt x="1350" y="1279"/>
                </a:lnTo>
                <a:lnTo>
                  <a:pt x="1368" y="1270"/>
                </a:lnTo>
                <a:lnTo>
                  <a:pt x="1383" y="1265"/>
                </a:lnTo>
                <a:lnTo>
                  <a:pt x="1400" y="1260"/>
                </a:lnTo>
                <a:lnTo>
                  <a:pt x="1419" y="1258"/>
                </a:lnTo>
                <a:lnTo>
                  <a:pt x="1438" y="1256"/>
                </a:lnTo>
                <a:lnTo>
                  <a:pt x="1438" y="1256"/>
                </a:lnTo>
                <a:lnTo>
                  <a:pt x="1457" y="1258"/>
                </a:lnTo>
                <a:lnTo>
                  <a:pt x="1474" y="1260"/>
                </a:lnTo>
                <a:lnTo>
                  <a:pt x="1491" y="1265"/>
                </a:lnTo>
                <a:lnTo>
                  <a:pt x="1509" y="1270"/>
                </a:lnTo>
                <a:lnTo>
                  <a:pt x="1524" y="1279"/>
                </a:lnTo>
                <a:lnTo>
                  <a:pt x="1539" y="1287"/>
                </a:lnTo>
                <a:lnTo>
                  <a:pt x="1553" y="1298"/>
                </a:lnTo>
                <a:lnTo>
                  <a:pt x="1565" y="1310"/>
                </a:lnTo>
                <a:lnTo>
                  <a:pt x="1577" y="1324"/>
                </a:lnTo>
                <a:lnTo>
                  <a:pt x="1588" y="1337"/>
                </a:lnTo>
                <a:lnTo>
                  <a:pt x="1598" y="1351"/>
                </a:lnTo>
                <a:lnTo>
                  <a:pt x="1605" y="1368"/>
                </a:lnTo>
                <a:lnTo>
                  <a:pt x="1612" y="1384"/>
                </a:lnTo>
                <a:lnTo>
                  <a:pt x="1615" y="1401"/>
                </a:lnTo>
                <a:lnTo>
                  <a:pt x="1618" y="1420"/>
                </a:lnTo>
                <a:lnTo>
                  <a:pt x="1618" y="1439"/>
                </a:lnTo>
                <a:lnTo>
                  <a:pt x="1618" y="1439"/>
                </a:lnTo>
                <a:lnTo>
                  <a:pt x="1618" y="1458"/>
                </a:lnTo>
                <a:lnTo>
                  <a:pt x="1615" y="1475"/>
                </a:lnTo>
                <a:lnTo>
                  <a:pt x="1612" y="1492"/>
                </a:lnTo>
                <a:lnTo>
                  <a:pt x="1605" y="1509"/>
                </a:lnTo>
                <a:lnTo>
                  <a:pt x="1598" y="1525"/>
                </a:lnTo>
                <a:lnTo>
                  <a:pt x="1588" y="1540"/>
                </a:lnTo>
                <a:lnTo>
                  <a:pt x="1577" y="1554"/>
                </a:lnTo>
                <a:lnTo>
                  <a:pt x="1565" y="1566"/>
                </a:lnTo>
                <a:lnTo>
                  <a:pt x="1553" y="1578"/>
                </a:lnTo>
                <a:lnTo>
                  <a:pt x="1539" y="1588"/>
                </a:lnTo>
                <a:lnTo>
                  <a:pt x="1524" y="1599"/>
                </a:lnTo>
                <a:lnTo>
                  <a:pt x="1509" y="1605"/>
                </a:lnTo>
                <a:lnTo>
                  <a:pt x="1491" y="1612"/>
                </a:lnTo>
                <a:lnTo>
                  <a:pt x="1474" y="1616"/>
                </a:lnTo>
                <a:lnTo>
                  <a:pt x="1457" y="1619"/>
                </a:lnTo>
                <a:lnTo>
                  <a:pt x="1438" y="1619"/>
                </a:lnTo>
                <a:lnTo>
                  <a:pt x="1438" y="1619"/>
                </a:lnTo>
                <a:close/>
                <a:moveTo>
                  <a:pt x="1823" y="1702"/>
                </a:moveTo>
                <a:lnTo>
                  <a:pt x="1823" y="1702"/>
                </a:lnTo>
                <a:lnTo>
                  <a:pt x="1811" y="1703"/>
                </a:lnTo>
                <a:lnTo>
                  <a:pt x="1799" y="1705"/>
                </a:lnTo>
                <a:lnTo>
                  <a:pt x="1787" y="1709"/>
                </a:lnTo>
                <a:lnTo>
                  <a:pt x="1775" y="1712"/>
                </a:lnTo>
                <a:lnTo>
                  <a:pt x="1765" y="1717"/>
                </a:lnTo>
                <a:lnTo>
                  <a:pt x="1754" y="1722"/>
                </a:lnTo>
                <a:lnTo>
                  <a:pt x="1746" y="1731"/>
                </a:lnTo>
                <a:lnTo>
                  <a:pt x="1737" y="1738"/>
                </a:lnTo>
                <a:lnTo>
                  <a:pt x="1728" y="1746"/>
                </a:lnTo>
                <a:lnTo>
                  <a:pt x="1722" y="1755"/>
                </a:lnTo>
                <a:lnTo>
                  <a:pt x="1716" y="1765"/>
                </a:lnTo>
                <a:lnTo>
                  <a:pt x="1711" y="1776"/>
                </a:lnTo>
                <a:lnTo>
                  <a:pt x="1708" y="1788"/>
                </a:lnTo>
                <a:lnTo>
                  <a:pt x="1704" y="1800"/>
                </a:lnTo>
                <a:lnTo>
                  <a:pt x="1703" y="1812"/>
                </a:lnTo>
                <a:lnTo>
                  <a:pt x="1701" y="1824"/>
                </a:lnTo>
                <a:lnTo>
                  <a:pt x="1701" y="1824"/>
                </a:lnTo>
                <a:lnTo>
                  <a:pt x="1703" y="1836"/>
                </a:lnTo>
                <a:lnTo>
                  <a:pt x="1704" y="1848"/>
                </a:lnTo>
                <a:lnTo>
                  <a:pt x="1708" y="1860"/>
                </a:lnTo>
                <a:lnTo>
                  <a:pt x="1711" y="1870"/>
                </a:lnTo>
                <a:lnTo>
                  <a:pt x="1716" y="1880"/>
                </a:lnTo>
                <a:lnTo>
                  <a:pt x="1722" y="1891"/>
                </a:lnTo>
                <a:lnTo>
                  <a:pt x="1728" y="1901"/>
                </a:lnTo>
                <a:lnTo>
                  <a:pt x="1737" y="1910"/>
                </a:lnTo>
                <a:lnTo>
                  <a:pt x="1746" y="1916"/>
                </a:lnTo>
                <a:lnTo>
                  <a:pt x="1754" y="1923"/>
                </a:lnTo>
                <a:lnTo>
                  <a:pt x="1765" y="1930"/>
                </a:lnTo>
                <a:lnTo>
                  <a:pt x="1775" y="1935"/>
                </a:lnTo>
                <a:lnTo>
                  <a:pt x="1787" y="1939"/>
                </a:lnTo>
                <a:lnTo>
                  <a:pt x="1799" y="1942"/>
                </a:lnTo>
                <a:lnTo>
                  <a:pt x="1811" y="1944"/>
                </a:lnTo>
                <a:lnTo>
                  <a:pt x="1823" y="1944"/>
                </a:lnTo>
                <a:lnTo>
                  <a:pt x="1823" y="1944"/>
                </a:lnTo>
                <a:lnTo>
                  <a:pt x="1835" y="1944"/>
                </a:lnTo>
                <a:lnTo>
                  <a:pt x="1847" y="1942"/>
                </a:lnTo>
                <a:lnTo>
                  <a:pt x="1859" y="1939"/>
                </a:lnTo>
                <a:lnTo>
                  <a:pt x="1869" y="1935"/>
                </a:lnTo>
                <a:lnTo>
                  <a:pt x="1880" y="1930"/>
                </a:lnTo>
                <a:lnTo>
                  <a:pt x="1890" y="1923"/>
                </a:lnTo>
                <a:lnTo>
                  <a:pt x="1900" y="1916"/>
                </a:lnTo>
                <a:lnTo>
                  <a:pt x="1909" y="1910"/>
                </a:lnTo>
                <a:lnTo>
                  <a:pt x="1916" y="1901"/>
                </a:lnTo>
                <a:lnTo>
                  <a:pt x="1923" y="1891"/>
                </a:lnTo>
                <a:lnTo>
                  <a:pt x="1929" y="1880"/>
                </a:lnTo>
                <a:lnTo>
                  <a:pt x="1935" y="1870"/>
                </a:lnTo>
                <a:lnTo>
                  <a:pt x="1938" y="1860"/>
                </a:lnTo>
                <a:lnTo>
                  <a:pt x="1941" y="1848"/>
                </a:lnTo>
                <a:lnTo>
                  <a:pt x="1943" y="1836"/>
                </a:lnTo>
                <a:lnTo>
                  <a:pt x="1943" y="1824"/>
                </a:lnTo>
                <a:lnTo>
                  <a:pt x="1943" y="1824"/>
                </a:lnTo>
                <a:lnTo>
                  <a:pt x="1943" y="1812"/>
                </a:lnTo>
                <a:lnTo>
                  <a:pt x="1941" y="1800"/>
                </a:lnTo>
                <a:lnTo>
                  <a:pt x="1938" y="1788"/>
                </a:lnTo>
                <a:lnTo>
                  <a:pt x="1935" y="1776"/>
                </a:lnTo>
                <a:lnTo>
                  <a:pt x="1929" y="1765"/>
                </a:lnTo>
                <a:lnTo>
                  <a:pt x="1923" y="1755"/>
                </a:lnTo>
                <a:lnTo>
                  <a:pt x="1916" y="1746"/>
                </a:lnTo>
                <a:lnTo>
                  <a:pt x="1909" y="1738"/>
                </a:lnTo>
                <a:lnTo>
                  <a:pt x="1900" y="1731"/>
                </a:lnTo>
                <a:lnTo>
                  <a:pt x="1890" y="1722"/>
                </a:lnTo>
                <a:lnTo>
                  <a:pt x="1880" y="1717"/>
                </a:lnTo>
                <a:lnTo>
                  <a:pt x="1869" y="1712"/>
                </a:lnTo>
                <a:lnTo>
                  <a:pt x="1859" y="1709"/>
                </a:lnTo>
                <a:lnTo>
                  <a:pt x="1847" y="1705"/>
                </a:lnTo>
                <a:lnTo>
                  <a:pt x="1835" y="1703"/>
                </a:lnTo>
                <a:lnTo>
                  <a:pt x="1823" y="1702"/>
                </a:lnTo>
                <a:lnTo>
                  <a:pt x="1823" y="1702"/>
                </a:lnTo>
                <a:close/>
              </a:path>
            </a:pathLst>
          </a:custGeom>
          <a:solidFill>
            <a:srgbClr val="00000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 name="TextBox 6">
            <a:extLst>
              <a:ext uri="{FF2B5EF4-FFF2-40B4-BE49-F238E27FC236}">
                <a16:creationId xmlns:a16="http://schemas.microsoft.com/office/drawing/2014/main" id="{F7430FAD-E865-4722-8DC4-A9E4CECFB112}"/>
              </a:ext>
            </a:extLst>
          </p:cNvPr>
          <p:cNvSpPr txBox="1"/>
          <p:nvPr/>
        </p:nvSpPr>
        <p:spPr>
          <a:xfrm>
            <a:off x="1489075" y="6470371"/>
            <a:ext cx="914400" cy="151091"/>
          </a:xfrm>
          <a:prstGeom prst="rect">
            <a:avLst/>
          </a:prstGeom>
          <a:noFill/>
        </p:spPr>
        <p:txBody>
          <a:bodyPr wrap="none" lIns="0" tIns="0" rIns="0" bIns="0" rtlCol="0" anchor="ctr">
            <a:noAutofit/>
          </a:bodyPr>
          <a:lstStyle/>
          <a:p>
            <a:pPr algn="r"/>
            <a:r>
              <a:rPr lang="en-AU" sz="1050">
                <a:latin typeface="Roboto Light" panose="02000000000000000000" pitchFamily="2" charset="0"/>
                <a:ea typeface="Roboto Light" panose="02000000000000000000" pitchFamily="2" charset="0"/>
              </a:rPr>
              <a:t>health outcomes</a:t>
            </a:r>
          </a:p>
        </p:txBody>
      </p:sp>
    </p:spTree>
    <p:extLst>
      <p:ext uri="{BB962C8B-B14F-4D97-AF65-F5344CB8AC3E}">
        <p14:creationId xmlns:p14="http://schemas.microsoft.com/office/powerpoint/2010/main" val="42576417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321AADE-77EC-4F32-9718-8C6BC84BA6BA}"/>
              </a:ext>
            </a:extLst>
          </p:cNvPr>
          <p:cNvSpPr/>
          <p:nvPr/>
        </p:nvSpPr>
        <p:spPr>
          <a:xfrm>
            <a:off x="3154363" y="5784305"/>
            <a:ext cx="6333728" cy="738664"/>
          </a:xfrm>
          <a:prstGeom prst="rect">
            <a:avLst/>
          </a:prstGeom>
        </p:spPr>
        <p:txBody>
          <a:bodyPr wrap="square" lIns="0">
            <a:noAutofit/>
          </a:bodyPr>
          <a:lstStyle/>
          <a:p>
            <a:pPr algn="just">
              <a:lnSpc>
                <a:spcPct val="100000"/>
              </a:lnSpc>
              <a:spcBef>
                <a:spcPts val="0"/>
              </a:spcBef>
              <a:defRPr/>
            </a:pPr>
            <a:r>
              <a:rPr lang="en-AU" sz="600" b="0">
                <a:solidFill>
                  <a:srgbClr val="BCB5AC"/>
                </a:solidFill>
                <a:latin typeface="Roboto Medium" panose="02000000000000000000" pitchFamily="2" charset="0"/>
                <a:ea typeface="Roboto Medium" panose="02000000000000000000" pitchFamily="2" charset="0"/>
              </a:rPr>
              <a:t>Disclaimer: </a:t>
            </a:r>
            <a:r>
              <a:rPr lang="en-US" sz="600" b="0">
                <a:solidFill>
                  <a:srgbClr val="BCB5AC"/>
                </a:solidFill>
                <a:latin typeface="Roboto Light" panose="02000000000000000000" pitchFamily="2" charset="0"/>
                <a:ea typeface="Roboto Light" panose="02000000000000000000" pitchFamily="2" charset="0"/>
              </a:rPr>
              <a:t>This report comprises, and is the subject of intellectual property (including copyright) and confidentiality rights of one or multiple owners, including The Quantium Group Pty Limited and its affiliates (</a:t>
            </a:r>
            <a:r>
              <a:rPr lang="en-US" sz="600" b="0">
                <a:solidFill>
                  <a:srgbClr val="BCB5AC"/>
                </a:solidFill>
                <a:latin typeface="Roboto Medium" panose="02000000000000000000" pitchFamily="2" charset="0"/>
                <a:ea typeface="Roboto Medium" panose="02000000000000000000" pitchFamily="2" charset="0"/>
              </a:rPr>
              <a:t>Quantium</a:t>
            </a:r>
            <a:r>
              <a:rPr lang="en-US" sz="600" b="0">
                <a:solidFill>
                  <a:srgbClr val="BCB5AC"/>
                </a:solidFill>
                <a:latin typeface="Roboto Light" panose="02000000000000000000" pitchFamily="2" charset="0"/>
                <a:ea typeface="Roboto Light" panose="02000000000000000000" pitchFamily="2" charset="0"/>
              </a:rPr>
              <a:t>) and where applicable, its third-party data owners (</a:t>
            </a:r>
            <a:r>
              <a:rPr lang="en-US" sz="600" b="0">
                <a:solidFill>
                  <a:srgbClr val="BCB5AC"/>
                </a:solidFill>
                <a:latin typeface="Roboto Medium" panose="02000000000000000000" pitchFamily="2" charset="0"/>
                <a:ea typeface="Roboto Medium" panose="02000000000000000000" pitchFamily="2" charset="0"/>
              </a:rPr>
              <a:t>Data Providers</a:t>
            </a:r>
            <a:r>
              <a:rPr lang="en-US" sz="600" b="0">
                <a:solidFill>
                  <a:srgbClr val="BCB5AC"/>
                </a:solidFill>
                <a:latin typeface="Roboto Light" panose="02000000000000000000" pitchFamily="2" charset="0"/>
                <a:ea typeface="Roboto Light" panose="02000000000000000000" pitchFamily="2" charset="0"/>
              </a:rPr>
              <a:t>), together (</a:t>
            </a:r>
            <a:r>
              <a:rPr lang="en-US" sz="600" b="0">
                <a:solidFill>
                  <a:srgbClr val="BCB5AC"/>
                </a:solidFill>
                <a:latin typeface="Roboto Medium" panose="02000000000000000000" pitchFamily="2" charset="0"/>
                <a:ea typeface="Roboto Medium" panose="02000000000000000000" pitchFamily="2" charset="0"/>
              </a:rPr>
              <a:t>IP Owners</a:t>
            </a:r>
            <a:r>
              <a:rPr lang="en-US" sz="600" b="0">
                <a:solidFill>
                  <a:srgbClr val="BCB5AC"/>
                </a:solidFill>
                <a:latin typeface="Roboto Light" panose="02000000000000000000" pitchFamily="2" charset="0"/>
                <a:ea typeface="Roboto Light" panose="02000000000000000000" pitchFamily="2" charset="0"/>
              </a:rPr>
              <a:t>). The information contained in this report may have been prepared using raw data owned by the Data Providers. The Data Providers have not been involved in the analysis of the raw data, the preparation of, or the information contained in the report. The IP Owners do not make any representation (express or implied), nor give any guarantee or warranty in relation to the accuracy, completeness or appropriateness of the raw data, nor the analysis contained in this report. None of the IP Owners will have any liability for any use or disclosure by the recipient of any information contained in, or derived from this report. To the maximum extent permitted by law, the IP Owners expressly disclaim, take no responsibility for and have no liability for the preparation, contents, accuracy or completeness of this report, nor the analysis on which it is based. This report is provided in confidence, may only be used for the purpose provided, and may not be copied, reproduced, distributed, disclosed or made available to a third party in any way except strictly in accordance with the applicable written terms and conditions between you and Quantium, or otherwise with Quantium’s prior written permission</a:t>
            </a:r>
            <a:endParaRPr lang="en-AU" sz="600" b="0">
              <a:solidFill>
                <a:srgbClr val="BCB5AC"/>
              </a:solidFill>
              <a:latin typeface="Roboto Light" panose="02000000000000000000" pitchFamily="2" charset="0"/>
              <a:ea typeface="Roboto Light" panose="02000000000000000000" pitchFamily="2" charset="0"/>
            </a:endParaRPr>
          </a:p>
        </p:txBody>
      </p:sp>
      <p:sp>
        <p:nvSpPr>
          <p:cNvPr id="2" name="Rectangle 1">
            <a:extLst>
              <a:ext uri="{FF2B5EF4-FFF2-40B4-BE49-F238E27FC236}">
                <a16:creationId xmlns:a16="http://schemas.microsoft.com/office/drawing/2014/main" id="{039D7A0B-8216-4DF4-80FA-852A5D82EA2A}"/>
              </a:ext>
            </a:extLst>
          </p:cNvPr>
          <p:cNvSpPr/>
          <p:nvPr/>
        </p:nvSpPr>
        <p:spPr>
          <a:xfrm>
            <a:off x="144462" y="6223003"/>
            <a:ext cx="273447" cy="299969"/>
          </a:xfrm>
          <a:prstGeom prst="rect">
            <a:avLst/>
          </a:prstGeom>
          <a:solidFill>
            <a:srgbClr val="0000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63"/>
          </a:p>
        </p:txBody>
      </p:sp>
    </p:spTree>
    <p:extLst>
      <p:ext uri="{BB962C8B-B14F-4D97-AF65-F5344CB8AC3E}">
        <p14:creationId xmlns:p14="http://schemas.microsoft.com/office/powerpoint/2010/main" val="2695750444"/>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1 (client logo / co-brand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6A55C9-5B74-4835-9859-F8241E4888D1}"/>
              </a:ext>
            </a:extLst>
          </p:cNvPr>
          <p:cNvSpPr>
            <a:spLocks noGrp="1"/>
          </p:cNvSpPr>
          <p:nvPr>
            <p:ph type="ctrTitle" hasCustomPrompt="1"/>
          </p:nvPr>
        </p:nvSpPr>
        <p:spPr>
          <a:xfrm>
            <a:off x="985442" y="1537494"/>
            <a:ext cx="3320057" cy="2387600"/>
          </a:xfrm>
          <a:prstGeom prst="rect">
            <a:avLst/>
          </a:prstGeom>
        </p:spPr>
        <p:txBody>
          <a:bodyPr lIns="0" anchor="b">
            <a:noAutofit/>
          </a:bodyPr>
          <a:lstStyle>
            <a:lvl1pPr algn="l">
              <a:lnSpc>
                <a:spcPct val="100000"/>
              </a:lnSpc>
              <a:defRPr sz="2700">
                <a:solidFill>
                  <a:schemeClr val="tx1"/>
                </a:solidFill>
                <a:latin typeface="Roboto Medium" panose="02000000000000000000" pitchFamily="2" charset="0"/>
                <a:ea typeface="Roboto Medium" panose="02000000000000000000" pitchFamily="2" charset="0"/>
              </a:defRPr>
            </a:lvl1pPr>
          </a:lstStyle>
          <a:p>
            <a:r>
              <a:rPr lang="en-US"/>
              <a:t>Insert title</a:t>
            </a:r>
            <a:endParaRPr lang="en-AU"/>
          </a:p>
        </p:txBody>
      </p:sp>
      <p:sp>
        <p:nvSpPr>
          <p:cNvPr id="3" name="Subtitle 2">
            <a:extLst>
              <a:ext uri="{FF2B5EF4-FFF2-40B4-BE49-F238E27FC236}">
                <a16:creationId xmlns:a16="http://schemas.microsoft.com/office/drawing/2014/main" id="{A8BAD180-19AA-445F-85D5-44F3F0AB654B}"/>
              </a:ext>
            </a:extLst>
          </p:cNvPr>
          <p:cNvSpPr>
            <a:spLocks noGrp="1"/>
          </p:cNvSpPr>
          <p:nvPr>
            <p:ph type="subTitle" idx="1" hasCustomPrompt="1"/>
          </p:nvPr>
        </p:nvSpPr>
        <p:spPr>
          <a:xfrm>
            <a:off x="985441" y="4126706"/>
            <a:ext cx="3320057" cy="1236662"/>
          </a:xfrm>
          <a:prstGeom prst="rect">
            <a:avLst/>
          </a:prstGeom>
        </p:spPr>
        <p:txBody>
          <a:bodyPr lIns="0">
            <a:noAutofit/>
          </a:bodyPr>
          <a:lstStyle>
            <a:lvl1pPr marL="0" indent="0" algn="l">
              <a:lnSpc>
                <a:spcPct val="100000"/>
              </a:lnSpc>
              <a:buNone/>
              <a:defRPr sz="1800">
                <a:solidFill>
                  <a:schemeClr val="tx1"/>
                </a:solidFill>
                <a:latin typeface="Roboto Light" panose="02000000000000000000" pitchFamily="2" charset="0"/>
                <a:ea typeface="Roboto Light" panose="02000000000000000000" pitchFamily="2" charset="0"/>
              </a:defRPr>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en-US"/>
              <a:t>Name surname</a:t>
            </a:r>
            <a:endParaRPr lang="en-AU"/>
          </a:p>
        </p:txBody>
      </p:sp>
      <p:sp>
        <p:nvSpPr>
          <p:cNvPr id="4" name="Rectangle 3">
            <a:extLst>
              <a:ext uri="{FF2B5EF4-FFF2-40B4-BE49-F238E27FC236}">
                <a16:creationId xmlns:a16="http://schemas.microsoft.com/office/drawing/2014/main" id="{33AF9D96-C52E-4309-BF03-B3E573906B78}"/>
              </a:ext>
            </a:extLst>
          </p:cNvPr>
          <p:cNvSpPr/>
          <p:nvPr/>
        </p:nvSpPr>
        <p:spPr>
          <a:xfrm>
            <a:off x="137867" y="6202837"/>
            <a:ext cx="306371" cy="377072"/>
          </a:xfrm>
          <a:prstGeom prst="rect">
            <a:avLst/>
          </a:prstGeom>
          <a:solidFill>
            <a:srgbClr val="0000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63"/>
          </a:p>
        </p:txBody>
      </p:sp>
      <p:sp>
        <p:nvSpPr>
          <p:cNvPr id="15" name="Text Placeholder 14">
            <a:extLst>
              <a:ext uri="{FF2B5EF4-FFF2-40B4-BE49-F238E27FC236}">
                <a16:creationId xmlns:a16="http://schemas.microsoft.com/office/drawing/2014/main" id="{C70ED5BD-1957-480E-8121-92F75D538BB9}"/>
              </a:ext>
            </a:extLst>
          </p:cNvPr>
          <p:cNvSpPr>
            <a:spLocks noGrp="1"/>
          </p:cNvSpPr>
          <p:nvPr>
            <p:ph type="body" sz="quarter" idx="10" hasCustomPrompt="1"/>
          </p:nvPr>
        </p:nvSpPr>
        <p:spPr>
          <a:xfrm>
            <a:off x="985441" y="650878"/>
            <a:ext cx="1729681" cy="244475"/>
          </a:xfrm>
          <a:prstGeom prst="rect">
            <a:avLst/>
          </a:prstGeom>
        </p:spPr>
        <p:txBody>
          <a:bodyPr lIns="0">
            <a:noAutofit/>
          </a:bodyPr>
          <a:lstStyle>
            <a:lvl1pPr marL="0" indent="0" algn="l" defTabSz="742950" rtl="0" eaLnBrk="1" latinLnBrk="0" hangingPunct="1">
              <a:lnSpc>
                <a:spcPct val="90000"/>
              </a:lnSpc>
              <a:spcBef>
                <a:spcPts val="813"/>
              </a:spcBef>
              <a:buFont typeface="Arial" panose="020B0604020202020204" pitchFamily="34" charset="0"/>
              <a:buNone/>
              <a:defRPr lang="en-AU" sz="1000" kern="1200" dirty="0">
                <a:solidFill>
                  <a:schemeClr val="tx1"/>
                </a:solidFill>
                <a:latin typeface="Roboto Light" panose="02000000000000000000" pitchFamily="2" charset="0"/>
                <a:ea typeface="Roboto Light" panose="02000000000000000000" pitchFamily="2" charset="0"/>
                <a:cs typeface="+mn-cs"/>
              </a:defRPr>
            </a:lvl1pPr>
          </a:lstStyle>
          <a:p>
            <a:pPr lvl="0"/>
            <a:r>
              <a:rPr lang="en-US"/>
              <a:t>Day Month Year</a:t>
            </a:r>
            <a:endParaRPr lang="en-AU"/>
          </a:p>
        </p:txBody>
      </p:sp>
      <p:sp>
        <p:nvSpPr>
          <p:cNvPr id="16" name="Text Placeholder 14">
            <a:extLst>
              <a:ext uri="{FF2B5EF4-FFF2-40B4-BE49-F238E27FC236}">
                <a16:creationId xmlns:a16="http://schemas.microsoft.com/office/drawing/2014/main" id="{E7D1F94D-475D-4F95-BDAD-887DFD7638A0}"/>
              </a:ext>
            </a:extLst>
          </p:cNvPr>
          <p:cNvSpPr>
            <a:spLocks noGrp="1"/>
          </p:cNvSpPr>
          <p:nvPr>
            <p:ph type="body" sz="quarter" idx="11" hasCustomPrompt="1"/>
          </p:nvPr>
        </p:nvSpPr>
        <p:spPr>
          <a:xfrm>
            <a:off x="985441" y="458792"/>
            <a:ext cx="1729681" cy="244475"/>
          </a:xfrm>
          <a:prstGeom prst="rect">
            <a:avLst/>
          </a:prstGeom>
        </p:spPr>
        <p:txBody>
          <a:bodyPr lIns="0">
            <a:noAutofit/>
          </a:bodyPr>
          <a:lstStyle>
            <a:lvl1pPr marL="0" indent="0" algn="l" defTabSz="742950" rtl="0" eaLnBrk="1" latinLnBrk="0" hangingPunct="1">
              <a:lnSpc>
                <a:spcPct val="90000"/>
              </a:lnSpc>
              <a:spcBef>
                <a:spcPts val="813"/>
              </a:spcBef>
              <a:buFont typeface="Arial" panose="020B0604020202020204" pitchFamily="34" charset="0"/>
              <a:buNone/>
              <a:defRPr lang="en-AU" sz="1000" kern="1200" dirty="0">
                <a:solidFill>
                  <a:schemeClr val="tx1"/>
                </a:solidFill>
                <a:latin typeface="Roboto Medium" panose="02000000000000000000" pitchFamily="2" charset="0"/>
                <a:ea typeface="Roboto Medium" panose="02000000000000000000" pitchFamily="2" charset="0"/>
                <a:cs typeface="+mn-cs"/>
              </a:defRPr>
            </a:lvl1pPr>
          </a:lstStyle>
          <a:p>
            <a:pPr lvl="0"/>
            <a:r>
              <a:rPr lang="en-US"/>
              <a:t>Draft</a:t>
            </a:r>
            <a:endParaRPr lang="en-AU"/>
          </a:p>
        </p:txBody>
      </p:sp>
      <p:pic>
        <p:nvPicPr>
          <p:cNvPr id="17" name="Picture 16" descr="A group of people walking down a runway&#10;&#10;Description generated with very high confidence">
            <a:extLst>
              <a:ext uri="{FF2B5EF4-FFF2-40B4-BE49-F238E27FC236}">
                <a16:creationId xmlns:a16="http://schemas.microsoft.com/office/drawing/2014/main" id="{49B85FA2-BD2A-4347-8D43-5DAE5F2981A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160291" y="-1"/>
            <a:ext cx="3745708" cy="6858001"/>
          </a:xfrm>
          <a:prstGeom prst="rect">
            <a:avLst/>
          </a:prstGeom>
        </p:spPr>
      </p:pic>
      <p:cxnSp>
        <p:nvCxnSpPr>
          <p:cNvPr id="8" name="Straight Connector 7">
            <a:extLst>
              <a:ext uri="{FF2B5EF4-FFF2-40B4-BE49-F238E27FC236}">
                <a16:creationId xmlns:a16="http://schemas.microsoft.com/office/drawing/2014/main" id="{52CA3564-ACC8-423B-B383-30E75903488D}"/>
              </a:ext>
            </a:extLst>
          </p:cNvPr>
          <p:cNvCxnSpPr/>
          <p:nvPr/>
        </p:nvCxnSpPr>
        <p:spPr>
          <a:xfrm>
            <a:off x="2516017" y="6159821"/>
            <a:ext cx="0" cy="45342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14">
            <a:extLst>
              <a:ext uri="{FF2B5EF4-FFF2-40B4-BE49-F238E27FC236}">
                <a16:creationId xmlns:a16="http://schemas.microsoft.com/office/drawing/2014/main" id="{D5D4AE39-BC8E-46C5-9EE3-F1ECF944B504}"/>
              </a:ext>
            </a:extLst>
          </p:cNvPr>
          <p:cNvSpPr>
            <a:spLocks noGrp="1"/>
          </p:cNvSpPr>
          <p:nvPr>
            <p:ph type="body" sz="quarter" idx="12" hasCustomPrompt="1"/>
          </p:nvPr>
        </p:nvSpPr>
        <p:spPr>
          <a:xfrm>
            <a:off x="2640310" y="6159821"/>
            <a:ext cx="1665186" cy="453429"/>
          </a:xfrm>
          <a:prstGeom prst="rect">
            <a:avLst/>
          </a:prstGeom>
        </p:spPr>
        <p:txBody>
          <a:bodyPr lIns="0" anchor="ctr">
            <a:noAutofit/>
          </a:bodyPr>
          <a:lstStyle>
            <a:lvl1pPr marL="0" indent="0" algn="l" defTabSz="742950" rtl="0" eaLnBrk="1" latinLnBrk="0" hangingPunct="1">
              <a:lnSpc>
                <a:spcPct val="90000"/>
              </a:lnSpc>
              <a:spcBef>
                <a:spcPts val="813"/>
              </a:spcBef>
              <a:buFont typeface="Arial" panose="020B0604020202020204" pitchFamily="34" charset="0"/>
              <a:buNone/>
              <a:defRPr lang="en-AU" sz="1000" kern="1200" dirty="0">
                <a:solidFill>
                  <a:schemeClr val="tx1"/>
                </a:solidFill>
                <a:latin typeface="Roboto Light" panose="02000000000000000000" pitchFamily="2" charset="0"/>
                <a:ea typeface="Roboto Light" panose="02000000000000000000" pitchFamily="2" charset="0"/>
                <a:cs typeface="+mn-cs"/>
              </a:defRPr>
            </a:lvl1pPr>
          </a:lstStyle>
          <a:p>
            <a:pPr lvl="0"/>
            <a:r>
              <a:rPr lang="en-US"/>
              <a:t>Place client logo here</a:t>
            </a:r>
            <a:endParaRPr lang="en-AU"/>
          </a:p>
        </p:txBody>
      </p:sp>
    </p:spTree>
    <p:extLst>
      <p:ext uri="{BB962C8B-B14F-4D97-AF65-F5344CB8AC3E}">
        <p14:creationId xmlns:p14="http://schemas.microsoft.com/office/powerpoint/2010/main" val="4171733833"/>
      </p:ext>
    </p:extLst>
  </p:cSld>
  <p:clrMapOvr>
    <a:masterClrMapping/>
  </p:clrMapOvr>
  <p:extLst>
    <p:ext uri="{DCECCB84-F9BA-43D5-87BE-67443E8EF086}">
      <p15:sldGuideLst xmlns:p15="http://schemas.microsoft.com/office/powerpoint/2012/main">
        <p15:guide id="1" orient="horz" pos="2748">
          <p15:clr>
            <a:srgbClr val="FBAE40"/>
          </p15:clr>
        </p15:guide>
        <p15:guide id="2" orient="horz" pos="2388">
          <p15:clr>
            <a:srgbClr val="FBAE40"/>
          </p15:clr>
        </p15:guide>
        <p15:guide id="3" orient="horz" pos="500">
          <p15:clr>
            <a:srgbClr val="FBAE40"/>
          </p15:clr>
        </p15:guide>
        <p15:guide id="4" orient="horz" pos="38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2 (no client logo)">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AF9D96-C52E-4309-BF03-B3E573906B78}"/>
              </a:ext>
            </a:extLst>
          </p:cNvPr>
          <p:cNvSpPr/>
          <p:nvPr/>
        </p:nvSpPr>
        <p:spPr>
          <a:xfrm>
            <a:off x="137867" y="6202837"/>
            <a:ext cx="306371" cy="377072"/>
          </a:xfrm>
          <a:prstGeom prst="rect">
            <a:avLst/>
          </a:prstGeom>
          <a:solidFill>
            <a:srgbClr val="0000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63"/>
          </a:p>
        </p:txBody>
      </p:sp>
      <p:pic>
        <p:nvPicPr>
          <p:cNvPr id="10" name="Picture 9" descr="A picture containing outdoor, bird, water, ground&#10;&#10;Description generated with very high confidence">
            <a:extLst>
              <a:ext uri="{FF2B5EF4-FFF2-40B4-BE49-F238E27FC236}">
                <a16:creationId xmlns:a16="http://schemas.microsoft.com/office/drawing/2014/main" id="{866764F7-299A-4C8A-9DF7-64559F330189}"/>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rot="5400000">
            <a:off x="4604144" y="1556144"/>
            <a:ext cx="6857999" cy="3745713"/>
          </a:xfrm>
          <a:prstGeom prst="rect">
            <a:avLst/>
          </a:prstGeom>
        </p:spPr>
      </p:pic>
      <p:sp>
        <p:nvSpPr>
          <p:cNvPr id="8" name="Title 1">
            <a:extLst>
              <a:ext uri="{FF2B5EF4-FFF2-40B4-BE49-F238E27FC236}">
                <a16:creationId xmlns:a16="http://schemas.microsoft.com/office/drawing/2014/main" id="{36E03F1D-3B31-45C6-94F9-681C51A785C0}"/>
              </a:ext>
            </a:extLst>
          </p:cNvPr>
          <p:cNvSpPr>
            <a:spLocks noGrp="1"/>
          </p:cNvSpPr>
          <p:nvPr>
            <p:ph type="ctrTitle" hasCustomPrompt="1"/>
          </p:nvPr>
        </p:nvSpPr>
        <p:spPr>
          <a:xfrm>
            <a:off x="985442" y="1537494"/>
            <a:ext cx="3320057" cy="2387600"/>
          </a:xfrm>
          <a:prstGeom prst="rect">
            <a:avLst/>
          </a:prstGeom>
        </p:spPr>
        <p:txBody>
          <a:bodyPr lIns="0" anchor="b">
            <a:noAutofit/>
          </a:bodyPr>
          <a:lstStyle>
            <a:lvl1pPr algn="l">
              <a:lnSpc>
                <a:spcPct val="100000"/>
              </a:lnSpc>
              <a:defRPr sz="2700">
                <a:solidFill>
                  <a:schemeClr val="tx1"/>
                </a:solidFill>
                <a:latin typeface="Roboto Medium" panose="02000000000000000000" pitchFamily="2" charset="0"/>
                <a:ea typeface="Roboto Medium" panose="02000000000000000000" pitchFamily="2" charset="0"/>
              </a:defRPr>
            </a:lvl1pPr>
          </a:lstStyle>
          <a:p>
            <a:r>
              <a:rPr lang="en-US"/>
              <a:t>Insert title</a:t>
            </a:r>
            <a:endParaRPr lang="en-AU"/>
          </a:p>
        </p:txBody>
      </p:sp>
      <p:sp>
        <p:nvSpPr>
          <p:cNvPr id="9" name="Subtitle 2">
            <a:extLst>
              <a:ext uri="{FF2B5EF4-FFF2-40B4-BE49-F238E27FC236}">
                <a16:creationId xmlns:a16="http://schemas.microsoft.com/office/drawing/2014/main" id="{F64A731F-1AED-41B3-AC43-8ED6D0C685A4}"/>
              </a:ext>
            </a:extLst>
          </p:cNvPr>
          <p:cNvSpPr>
            <a:spLocks noGrp="1"/>
          </p:cNvSpPr>
          <p:nvPr>
            <p:ph type="subTitle" idx="1" hasCustomPrompt="1"/>
          </p:nvPr>
        </p:nvSpPr>
        <p:spPr>
          <a:xfrm>
            <a:off x="985441" y="4126706"/>
            <a:ext cx="3320057" cy="1236662"/>
          </a:xfrm>
          <a:prstGeom prst="rect">
            <a:avLst/>
          </a:prstGeom>
        </p:spPr>
        <p:txBody>
          <a:bodyPr lIns="0">
            <a:noAutofit/>
          </a:bodyPr>
          <a:lstStyle>
            <a:lvl1pPr marL="0" indent="0" algn="l">
              <a:lnSpc>
                <a:spcPct val="100000"/>
              </a:lnSpc>
              <a:buNone/>
              <a:defRPr sz="1800">
                <a:solidFill>
                  <a:schemeClr val="tx1"/>
                </a:solidFill>
                <a:latin typeface="Roboto Light" panose="02000000000000000000" pitchFamily="2" charset="0"/>
                <a:ea typeface="Roboto Light" panose="02000000000000000000" pitchFamily="2" charset="0"/>
              </a:defRPr>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en-US"/>
              <a:t>Name surname</a:t>
            </a:r>
            <a:endParaRPr lang="en-AU"/>
          </a:p>
        </p:txBody>
      </p:sp>
      <p:sp>
        <p:nvSpPr>
          <p:cNvPr id="11" name="Text Placeholder 14">
            <a:extLst>
              <a:ext uri="{FF2B5EF4-FFF2-40B4-BE49-F238E27FC236}">
                <a16:creationId xmlns:a16="http://schemas.microsoft.com/office/drawing/2014/main" id="{3C7D95C4-E627-42A5-8320-E305B0E2DA2C}"/>
              </a:ext>
            </a:extLst>
          </p:cNvPr>
          <p:cNvSpPr>
            <a:spLocks noGrp="1"/>
          </p:cNvSpPr>
          <p:nvPr>
            <p:ph type="body" sz="quarter" idx="10" hasCustomPrompt="1"/>
          </p:nvPr>
        </p:nvSpPr>
        <p:spPr>
          <a:xfrm>
            <a:off x="985441" y="650878"/>
            <a:ext cx="1729681" cy="244475"/>
          </a:xfrm>
          <a:prstGeom prst="rect">
            <a:avLst/>
          </a:prstGeom>
        </p:spPr>
        <p:txBody>
          <a:bodyPr lIns="0">
            <a:noAutofit/>
          </a:bodyPr>
          <a:lstStyle>
            <a:lvl1pPr marL="0" indent="0" algn="l" defTabSz="742950" rtl="0" eaLnBrk="1" latinLnBrk="0" hangingPunct="1">
              <a:lnSpc>
                <a:spcPct val="90000"/>
              </a:lnSpc>
              <a:spcBef>
                <a:spcPts val="813"/>
              </a:spcBef>
              <a:buFont typeface="Arial" panose="020B0604020202020204" pitchFamily="34" charset="0"/>
              <a:buNone/>
              <a:defRPr lang="en-AU" sz="1000" kern="1200" dirty="0">
                <a:solidFill>
                  <a:schemeClr val="tx1"/>
                </a:solidFill>
                <a:latin typeface="Roboto Light" panose="02000000000000000000" pitchFamily="2" charset="0"/>
                <a:ea typeface="Roboto Light" panose="02000000000000000000" pitchFamily="2" charset="0"/>
                <a:cs typeface="+mn-cs"/>
              </a:defRPr>
            </a:lvl1pPr>
          </a:lstStyle>
          <a:p>
            <a:pPr lvl="0"/>
            <a:r>
              <a:rPr lang="en-US"/>
              <a:t>Day Month Year</a:t>
            </a:r>
            <a:endParaRPr lang="en-AU"/>
          </a:p>
        </p:txBody>
      </p:sp>
      <p:sp>
        <p:nvSpPr>
          <p:cNvPr id="12" name="Text Placeholder 14">
            <a:extLst>
              <a:ext uri="{FF2B5EF4-FFF2-40B4-BE49-F238E27FC236}">
                <a16:creationId xmlns:a16="http://schemas.microsoft.com/office/drawing/2014/main" id="{990FCF7C-9D03-4698-B830-89A868319F4C}"/>
              </a:ext>
            </a:extLst>
          </p:cNvPr>
          <p:cNvSpPr>
            <a:spLocks noGrp="1"/>
          </p:cNvSpPr>
          <p:nvPr>
            <p:ph type="body" sz="quarter" idx="11" hasCustomPrompt="1"/>
          </p:nvPr>
        </p:nvSpPr>
        <p:spPr>
          <a:xfrm>
            <a:off x="985441" y="458792"/>
            <a:ext cx="1729681" cy="244475"/>
          </a:xfrm>
          <a:prstGeom prst="rect">
            <a:avLst/>
          </a:prstGeom>
        </p:spPr>
        <p:txBody>
          <a:bodyPr lIns="0">
            <a:noAutofit/>
          </a:bodyPr>
          <a:lstStyle>
            <a:lvl1pPr marL="0" indent="0" algn="l" defTabSz="742950" rtl="0" eaLnBrk="1" latinLnBrk="0" hangingPunct="1">
              <a:lnSpc>
                <a:spcPct val="90000"/>
              </a:lnSpc>
              <a:spcBef>
                <a:spcPts val="813"/>
              </a:spcBef>
              <a:buFont typeface="Arial" panose="020B0604020202020204" pitchFamily="34" charset="0"/>
              <a:buNone/>
              <a:defRPr lang="en-AU" sz="1000" kern="1200" dirty="0">
                <a:solidFill>
                  <a:schemeClr val="tx1"/>
                </a:solidFill>
                <a:latin typeface="Roboto Medium" panose="02000000000000000000" pitchFamily="2" charset="0"/>
                <a:ea typeface="Roboto Medium" panose="02000000000000000000" pitchFamily="2" charset="0"/>
                <a:cs typeface="+mn-cs"/>
              </a:defRPr>
            </a:lvl1pPr>
          </a:lstStyle>
          <a:p>
            <a:pPr lvl="0"/>
            <a:r>
              <a:rPr lang="en-US"/>
              <a:t>Draft</a:t>
            </a:r>
            <a:endParaRPr lang="en-AU"/>
          </a:p>
        </p:txBody>
      </p:sp>
    </p:spTree>
    <p:extLst>
      <p:ext uri="{BB962C8B-B14F-4D97-AF65-F5344CB8AC3E}">
        <p14:creationId xmlns:p14="http://schemas.microsoft.com/office/powerpoint/2010/main" val="2337277609"/>
      </p:ext>
    </p:extLst>
  </p:cSld>
  <p:clrMapOvr>
    <a:masterClrMapping/>
  </p:clrMapOvr>
  <p:extLst>
    <p:ext uri="{DCECCB84-F9BA-43D5-87BE-67443E8EF086}">
      <p15:sldGuideLst xmlns:p15="http://schemas.microsoft.com/office/powerpoint/2012/main">
        <p15:guide id="1" orient="horz" pos="2748">
          <p15:clr>
            <a:srgbClr val="FBAE40"/>
          </p15:clr>
        </p15:guide>
        <p15:guide id="2" orient="horz" pos="2388">
          <p15:clr>
            <a:srgbClr val="FBAE40"/>
          </p15:clr>
        </p15:guide>
        <p15:guide id="3" orient="horz" pos="500">
          <p15:clr>
            <a:srgbClr val="FBAE40"/>
          </p15:clr>
        </p15:guide>
        <p15:guide id="4" orient="horz" pos="38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2 (client logo / co-brande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AF9D96-C52E-4309-BF03-B3E573906B78}"/>
              </a:ext>
            </a:extLst>
          </p:cNvPr>
          <p:cNvSpPr/>
          <p:nvPr/>
        </p:nvSpPr>
        <p:spPr>
          <a:xfrm>
            <a:off x="137867" y="6202837"/>
            <a:ext cx="306371" cy="377072"/>
          </a:xfrm>
          <a:prstGeom prst="rect">
            <a:avLst/>
          </a:prstGeom>
          <a:solidFill>
            <a:srgbClr val="0000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63"/>
          </a:p>
        </p:txBody>
      </p:sp>
      <p:cxnSp>
        <p:nvCxnSpPr>
          <p:cNvPr id="6" name="Straight Connector 5">
            <a:extLst>
              <a:ext uri="{FF2B5EF4-FFF2-40B4-BE49-F238E27FC236}">
                <a16:creationId xmlns:a16="http://schemas.microsoft.com/office/drawing/2014/main" id="{D4F28560-C79D-4FEE-8A12-154DA45532A7}"/>
              </a:ext>
            </a:extLst>
          </p:cNvPr>
          <p:cNvCxnSpPr/>
          <p:nvPr/>
        </p:nvCxnSpPr>
        <p:spPr>
          <a:xfrm>
            <a:off x="2410510" y="6159821"/>
            <a:ext cx="0" cy="45342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 Placeholder 14">
            <a:extLst>
              <a:ext uri="{FF2B5EF4-FFF2-40B4-BE49-F238E27FC236}">
                <a16:creationId xmlns:a16="http://schemas.microsoft.com/office/drawing/2014/main" id="{306860AD-9923-4116-9745-3C66BB4F05E0}"/>
              </a:ext>
            </a:extLst>
          </p:cNvPr>
          <p:cNvSpPr>
            <a:spLocks noGrp="1"/>
          </p:cNvSpPr>
          <p:nvPr>
            <p:ph type="body" sz="quarter" idx="12" hasCustomPrompt="1"/>
          </p:nvPr>
        </p:nvSpPr>
        <p:spPr>
          <a:xfrm>
            <a:off x="2640310" y="6159821"/>
            <a:ext cx="1665186" cy="453429"/>
          </a:xfrm>
          <a:prstGeom prst="rect">
            <a:avLst/>
          </a:prstGeom>
        </p:spPr>
        <p:txBody>
          <a:bodyPr lIns="0" anchor="ctr">
            <a:noAutofit/>
          </a:bodyPr>
          <a:lstStyle>
            <a:lvl1pPr marL="0" indent="0" algn="l" defTabSz="742950" rtl="0" eaLnBrk="1" latinLnBrk="0" hangingPunct="1">
              <a:lnSpc>
                <a:spcPct val="90000"/>
              </a:lnSpc>
              <a:spcBef>
                <a:spcPts val="813"/>
              </a:spcBef>
              <a:buFont typeface="Arial" panose="020B0604020202020204" pitchFamily="34" charset="0"/>
              <a:buNone/>
              <a:defRPr lang="en-AU" sz="1000" kern="1200" dirty="0">
                <a:solidFill>
                  <a:schemeClr val="tx1"/>
                </a:solidFill>
                <a:latin typeface="Roboto Light" panose="02000000000000000000" pitchFamily="2" charset="0"/>
                <a:ea typeface="Roboto Light" panose="02000000000000000000" pitchFamily="2" charset="0"/>
                <a:cs typeface="+mn-cs"/>
              </a:defRPr>
            </a:lvl1pPr>
          </a:lstStyle>
          <a:p>
            <a:pPr lvl="0"/>
            <a:r>
              <a:rPr lang="en-US"/>
              <a:t>Place client logo here</a:t>
            </a:r>
            <a:endParaRPr lang="en-AU"/>
          </a:p>
        </p:txBody>
      </p:sp>
      <p:pic>
        <p:nvPicPr>
          <p:cNvPr id="11" name="Picture 10" descr="A picture containing outdoor, bird, water, ground&#10;&#10;Description generated with very high confidence">
            <a:extLst>
              <a:ext uri="{FF2B5EF4-FFF2-40B4-BE49-F238E27FC236}">
                <a16:creationId xmlns:a16="http://schemas.microsoft.com/office/drawing/2014/main" id="{6B7E48DB-D625-426D-A2E2-6652D732F34B}"/>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rot="5400000">
            <a:off x="4604144" y="1556144"/>
            <a:ext cx="6857999" cy="3745713"/>
          </a:xfrm>
          <a:prstGeom prst="rect">
            <a:avLst/>
          </a:prstGeom>
        </p:spPr>
      </p:pic>
      <p:sp>
        <p:nvSpPr>
          <p:cNvPr id="12" name="Title 1">
            <a:extLst>
              <a:ext uri="{FF2B5EF4-FFF2-40B4-BE49-F238E27FC236}">
                <a16:creationId xmlns:a16="http://schemas.microsoft.com/office/drawing/2014/main" id="{34545879-3807-4D44-8F2C-0472DD123781}"/>
              </a:ext>
            </a:extLst>
          </p:cNvPr>
          <p:cNvSpPr>
            <a:spLocks noGrp="1"/>
          </p:cNvSpPr>
          <p:nvPr>
            <p:ph type="ctrTitle" hasCustomPrompt="1"/>
          </p:nvPr>
        </p:nvSpPr>
        <p:spPr>
          <a:xfrm>
            <a:off x="985442" y="1537494"/>
            <a:ext cx="3320057" cy="2387600"/>
          </a:xfrm>
          <a:prstGeom prst="rect">
            <a:avLst/>
          </a:prstGeom>
        </p:spPr>
        <p:txBody>
          <a:bodyPr lIns="0" anchor="b">
            <a:noAutofit/>
          </a:bodyPr>
          <a:lstStyle>
            <a:lvl1pPr algn="l">
              <a:lnSpc>
                <a:spcPct val="100000"/>
              </a:lnSpc>
              <a:defRPr sz="2700">
                <a:solidFill>
                  <a:schemeClr val="tx1"/>
                </a:solidFill>
                <a:latin typeface="Roboto Medium" panose="02000000000000000000" pitchFamily="2" charset="0"/>
                <a:ea typeface="Roboto Medium" panose="02000000000000000000" pitchFamily="2" charset="0"/>
              </a:defRPr>
            </a:lvl1pPr>
          </a:lstStyle>
          <a:p>
            <a:r>
              <a:rPr lang="en-US"/>
              <a:t>Insert title</a:t>
            </a:r>
            <a:endParaRPr lang="en-AU"/>
          </a:p>
        </p:txBody>
      </p:sp>
      <p:sp>
        <p:nvSpPr>
          <p:cNvPr id="13" name="Subtitle 2">
            <a:extLst>
              <a:ext uri="{FF2B5EF4-FFF2-40B4-BE49-F238E27FC236}">
                <a16:creationId xmlns:a16="http://schemas.microsoft.com/office/drawing/2014/main" id="{4E00577D-3BD4-4E61-9831-895D9BDF9835}"/>
              </a:ext>
            </a:extLst>
          </p:cNvPr>
          <p:cNvSpPr>
            <a:spLocks noGrp="1"/>
          </p:cNvSpPr>
          <p:nvPr>
            <p:ph type="subTitle" idx="1" hasCustomPrompt="1"/>
          </p:nvPr>
        </p:nvSpPr>
        <p:spPr>
          <a:xfrm>
            <a:off x="985441" y="4126706"/>
            <a:ext cx="3320057" cy="1236662"/>
          </a:xfrm>
          <a:prstGeom prst="rect">
            <a:avLst/>
          </a:prstGeom>
        </p:spPr>
        <p:txBody>
          <a:bodyPr lIns="0">
            <a:noAutofit/>
          </a:bodyPr>
          <a:lstStyle>
            <a:lvl1pPr marL="0" indent="0" algn="l">
              <a:lnSpc>
                <a:spcPct val="100000"/>
              </a:lnSpc>
              <a:buNone/>
              <a:defRPr sz="1800">
                <a:solidFill>
                  <a:schemeClr val="tx1"/>
                </a:solidFill>
                <a:latin typeface="Roboto Light" panose="02000000000000000000" pitchFamily="2" charset="0"/>
                <a:ea typeface="Roboto Light" panose="02000000000000000000" pitchFamily="2" charset="0"/>
              </a:defRPr>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en-US"/>
              <a:t>Name surname</a:t>
            </a:r>
            <a:endParaRPr lang="en-AU"/>
          </a:p>
        </p:txBody>
      </p:sp>
      <p:sp>
        <p:nvSpPr>
          <p:cNvPr id="14" name="Text Placeholder 14">
            <a:extLst>
              <a:ext uri="{FF2B5EF4-FFF2-40B4-BE49-F238E27FC236}">
                <a16:creationId xmlns:a16="http://schemas.microsoft.com/office/drawing/2014/main" id="{98B31B6F-9ECA-4E68-8807-2209DBE276A2}"/>
              </a:ext>
            </a:extLst>
          </p:cNvPr>
          <p:cNvSpPr>
            <a:spLocks noGrp="1"/>
          </p:cNvSpPr>
          <p:nvPr>
            <p:ph type="body" sz="quarter" idx="10" hasCustomPrompt="1"/>
          </p:nvPr>
        </p:nvSpPr>
        <p:spPr>
          <a:xfrm>
            <a:off x="985441" y="650878"/>
            <a:ext cx="1729681" cy="244475"/>
          </a:xfrm>
          <a:prstGeom prst="rect">
            <a:avLst/>
          </a:prstGeom>
        </p:spPr>
        <p:txBody>
          <a:bodyPr lIns="0">
            <a:noAutofit/>
          </a:bodyPr>
          <a:lstStyle>
            <a:lvl1pPr marL="0" indent="0" algn="l" defTabSz="742950" rtl="0" eaLnBrk="1" latinLnBrk="0" hangingPunct="1">
              <a:lnSpc>
                <a:spcPct val="90000"/>
              </a:lnSpc>
              <a:spcBef>
                <a:spcPts val="813"/>
              </a:spcBef>
              <a:buFont typeface="Arial" panose="020B0604020202020204" pitchFamily="34" charset="0"/>
              <a:buNone/>
              <a:defRPr lang="en-AU" sz="1000" kern="1200" dirty="0">
                <a:solidFill>
                  <a:schemeClr val="tx1"/>
                </a:solidFill>
                <a:latin typeface="Roboto Light" panose="02000000000000000000" pitchFamily="2" charset="0"/>
                <a:ea typeface="Roboto Light" panose="02000000000000000000" pitchFamily="2" charset="0"/>
                <a:cs typeface="+mn-cs"/>
              </a:defRPr>
            </a:lvl1pPr>
          </a:lstStyle>
          <a:p>
            <a:pPr lvl="0"/>
            <a:r>
              <a:rPr lang="en-US"/>
              <a:t>Day Month Year</a:t>
            </a:r>
            <a:endParaRPr lang="en-AU"/>
          </a:p>
        </p:txBody>
      </p:sp>
      <p:sp>
        <p:nvSpPr>
          <p:cNvPr id="17" name="Text Placeholder 14">
            <a:extLst>
              <a:ext uri="{FF2B5EF4-FFF2-40B4-BE49-F238E27FC236}">
                <a16:creationId xmlns:a16="http://schemas.microsoft.com/office/drawing/2014/main" id="{0EFA58A5-6162-46DF-8EE1-AD4175CA7BC6}"/>
              </a:ext>
            </a:extLst>
          </p:cNvPr>
          <p:cNvSpPr>
            <a:spLocks noGrp="1"/>
          </p:cNvSpPr>
          <p:nvPr>
            <p:ph type="body" sz="quarter" idx="11" hasCustomPrompt="1"/>
          </p:nvPr>
        </p:nvSpPr>
        <p:spPr>
          <a:xfrm>
            <a:off x="985441" y="458792"/>
            <a:ext cx="1729681" cy="244475"/>
          </a:xfrm>
          <a:prstGeom prst="rect">
            <a:avLst/>
          </a:prstGeom>
        </p:spPr>
        <p:txBody>
          <a:bodyPr lIns="0">
            <a:noAutofit/>
          </a:bodyPr>
          <a:lstStyle>
            <a:lvl1pPr marL="0" indent="0" algn="l" defTabSz="742950" rtl="0" eaLnBrk="1" latinLnBrk="0" hangingPunct="1">
              <a:lnSpc>
                <a:spcPct val="90000"/>
              </a:lnSpc>
              <a:spcBef>
                <a:spcPts val="813"/>
              </a:spcBef>
              <a:buFont typeface="Arial" panose="020B0604020202020204" pitchFamily="34" charset="0"/>
              <a:buNone/>
              <a:defRPr lang="en-AU" sz="1000" kern="1200" dirty="0">
                <a:solidFill>
                  <a:schemeClr val="tx1"/>
                </a:solidFill>
                <a:latin typeface="Roboto Medium" panose="02000000000000000000" pitchFamily="2" charset="0"/>
                <a:ea typeface="Roboto Medium" panose="02000000000000000000" pitchFamily="2" charset="0"/>
                <a:cs typeface="+mn-cs"/>
              </a:defRPr>
            </a:lvl1pPr>
          </a:lstStyle>
          <a:p>
            <a:pPr lvl="0"/>
            <a:r>
              <a:rPr lang="en-US"/>
              <a:t>Draft</a:t>
            </a:r>
            <a:endParaRPr lang="en-AU"/>
          </a:p>
        </p:txBody>
      </p:sp>
    </p:spTree>
    <p:extLst>
      <p:ext uri="{BB962C8B-B14F-4D97-AF65-F5344CB8AC3E}">
        <p14:creationId xmlns:p14="http://schemas.microsoft.com/office/powerpoint/2010/main" val="3881972577"/>
      </p:ext>
    </p:extLst>
  </p:cSld>
  <p:clrMapOvr>
    <a:masterClrMapping/>
  </p:clrMapOvr>
  <p:extLst>
    <p:ext uri="{DCECCB84-F9BA-43D5-87BE-67443E8EF086}">
      <p15:sldGuideLst xmlns:p15="http://schemas.microsoft.com/office/powerpoint/2012/main">
        <p15:guide id="1" orient="horz" pos="2748">
          <p15:clr>
            <a:srgbClr val="FBAE40"/>
          </p15:clr>
        </p15:guide>
        <p15:guide id="2" orient="horz" pos="2388">
          <p15:clr>
            <a:srgbClr val="FBAE40"/>
          </p15:clr>
        </p15:guide>
        <p15:guide id="3" orient="horz" pos="500">
          <p15:clr>
            <a:srgbClr val="FBAE40"/>
          </p15:clr>
        </p15:guide>
        <p15:guide id="4" orient="horz" pos="38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6F5A386D-6F35-447F-AF4D-456A73A96F7F}"/>
              </a:ext>
            </a:extLst>
          </p:cNvPr>
          <p:cNvSpPr>
            <a:spLocks noGrp="1"/>
          </p:cNvSpPr>
          <p:nvPr>
            <p:ph idx="11" hasCustomPrompt="1"/>
          </p:nvPr>
        </p:nvSpPr>
        <p:spPr>
          <a:xfrm>
            <a:off x="981573" y="1403625"/>
            <a:ext cx="1018977" cy="497928"/>
          </a:xfrm>
          <a:prstGeom prst="rect">
            <a:avLst/>
          </a:prstGeom>
        </p:spPr>
        <p:txBody>
          <a:bodyPr lIns="0">
            <a:noAutofit/>
          </a:bodyPr>
          <a:lstStyle>
            <a:lvl1pPr marL="0" indent="0">
              <a:lnSpc>
                <a:spcPct val="100000"/>
              </a:lnSpc>
              <a:spcBef>
                <a:spcPts val="312"/>
              </a:spcBef>
              <a:buFontTx/>
              <a:buNone/>
              <a:defRPr sz="1800">
                <a:latin typeface="Roboto Light" panose="02000000000000000000" pitchFamily="2" charset="0"/>
                <a:ea typeface="Roboto Light" panose="02000000000000000000" pitchFamily="2" charset="0"/>
              </a:defRPr>
            </a:lvl1pPr>
            <a:lvl2pPr marL="292794" indent="0">
              <a:spcBef>
                <a:spcPts val="312"/>
              </a:spcBef>
              <a:buFontTx/>
              <a:buNone/>
              <a:defRPr sz="813"/>
            </a:lvl2pPr>
            <a:lvl3pPr marL="508198" indent="0">
              <a:spcBef>
                <a:spcPts val="312"/>
              </a:spcBef>
              <a:buFontTx/>
              <a:buNone/>
              <a:defRPr sz="813"/>
            </a:lvl3pPr>
            <a:lvl4pPr>
              <a:spcBef>
                <a:spcPts val="312"/>
              </a:spcBef>
              <a:defRPr sz="894">
                <a:solidFill>
                  <a:schemeClr val="tx1"/>
                </a:solidFill>
              </a:defRPr>
            </a:lvl4pPr>
            <a:lvl5pPr>
              <a:spcBef>
                <a:spcPts val="312"/>
              </a:spcBef>
              <a:defRPr sz="894"/>
            </a:lvl5pPr>
          </a:lstStyle>
          <a:p>
            <a:pPr lvl="0"/>
            <a:r>
              <a:rPr lang="en-US"/>
              <a:t>01</a:t>
            </a:r>
          </a:p>
        </p:txBody>
      </p:sp>
      <p:sp>
        <p:nvSpPr>
          <p:cNvPr id="8" name="Content Placeholder 2">
            <a:extLst>
              <a:ext uri="{FF2B5EF4-FFF2-40B4-BE49-F238E27FC236}">
                <a16:creationId xmlns:a16="http://schemas.microsoft.com/office/drawing/2014/main" id="{749C0DC6-94C5-4E16-8969-EAF2ACFED6BA}"/>
              </a:ext>
            </a:extLst>
          </p:cNvPr>
          <p:cNvSpPr>
            <a:spLocks noGrp="1"/>
          </p:cNvSpPr>
          <p:nvPr>
            <p:ph idx="12" hasCustomPrompt="1"/>
          </p:nvPr>
        </p:nvSpPr>
        <p:spPr>
          <a:xfrm>
            <a:off x="2134693" y="1403625"/>
            <a:ext cx="6031567" cy="497928"/>
          </a:xfrm>
          <a:prstGeom prst="rect">
            <a:avLst/>
          </a:prstGeom>
        </p:spPr>
        <p:txBody>
          <a:bodyPr lIns="0">
            <a:noAutofit/>
          </a:bodyPr>
          <a:lstStyle>
            <a:lvl1pPr marL="0" indent="0">
              <a:lnSpc>
                <a:spcPct val="100000"/>
              </a:lnSpc>
              <a:spcBef>
                <a:spcPts val="312"/>
              </a:spcBef>
              <a:buFontTx/>
              <a:buNone/>
              <a:defRPr sz="1800">
                <a:latin typeface="Roboto Light" panose="02000000000000000000" pitchFamily="2" charset="0"/>
                <a:ea typeface="Roboto Light" panose="02000000000000000000" pitchFamily="2" charset="0"/>
              </a:defRPr>
            </a:lvl1pPr>
            <a:lvl2pPr marL="292794" indent="0">
              <a:spcBef>
                <a:spcPts val="312"/>
              </a:spcBef>
              <a:buFontTx/>
              <a:buNone/>
              <a:defRPr sz="813"/>
            </a:lvl2pPr>
            <a:lvl3pPr marL="508198" indent="0">
              <a:spcBef>
                <a:spcPts val="312"/>
              </a:spcBef>
              <a:buFontTx/>
              <a:buNone/>
              <a:defRPr sz="813"/>
            </a:lvl3pPr>
            <a:lvl4pPr>
              <a:spcBef>
                <a:spcPts val="312"/>
              </a:spcBef>
              <a:defRPr sz="894">
                <a:solidFill>
                  <a:schemeClr val="tx1"/>
                </a:solidFill>
              </a:defRPr>
            </a:lvl4pPr>
            <a:lvl5pPr>
              <a:spcBef>
                <a:spcPts val="312"/>
              </a:spcBef>
              <a:defRPr sz="894"/>
            </a:lvl5pPr>
          </a:lstStyle>
          <a:p>
            <a:pPr lvl="0"/>
            <a:r>
              <a:rPr lang="en-US"/>
              <a:t>Title</a:t>
            </a:r>
          </a:p>
        </p:txBody>
      </p:sp>
      <p:sp>
        <p:nvSpPr>
          <p:cNvPr id="9" name="Content Placeholder 2">
            <a:extLst>
              <a:ext uri="{FF2B5EF4-FFF2-40B4-BE49-F238E27FC236}">
                <a16:creationId xmlns:a16="http://schemas.microsoft.com/office/drawing/2014/main" id="{95E6FD08-40BA-4DA9-B974-4A1796E7254C}"/>
              </a:ext>
            </a:extLst>
          </p:cNvPr>
          <p:cNvSpPr>
            <a:spLocks noGrp="1"/>
          </p:cNvSpPr>
          <p:nvPr>
            <p:ph idx="13" hasCustomPrompt="1"/>
          </p:nvPr>
        </p:nvSpPr>
        <p:spPr>
          <a:xfrm>
            <a:off x="981573" y="1887264"/>
            <a:ext cx="1018977" cy="497928"/>
          </a:xfrm>
          <a:prstGeom prst="rect">
            <a:avLst/>
          </a:prstGeom>
        </p:spPr>
        <p:txBody>
          <a:bodyPr lIns="0">
            <a:noAutofit/>
          </a:bodyPr>
          <a:lstStyle>
            <a:lvl1pPr marL="0" indent="0">
              <a:lnSpc>
                <a:spcPct val="100000"/>
              </a:lnSpc>
              <a:spcBef>
                <a:spcPts val="312"/>
              </a:spcBef>
              <a:buFontTx/>
              <a:buNone/>
              <a:defRPr sz="1800">
                <a:latin typeface="Roboto Light" panose="02000000000000000000" pitchFamily="2" charset="0"/>
                <a:ea typeface="Roboto Light" panose="02000000000000000000" pitchFamily="2" charset="0"/>
              </a:defRPr>
            </a:lvl1pPr>
            <a:lvl2pPr marL="292794" indent="0">
              <a:spcBef>
                <a:spcPts val="312"/>
              </a:spcBef>
              <a:buFontTx/>
              <a:buNone/>
              <a:defRPr sz="813"/>
            </a:lvl2pPr>
            <a:lvl3pPr marL="508198" indent="0">
              <a:spcBef>
                <a:spcPts val="312"/>
              </a:spcBef>
              <a:buFontTx/>
              <a:buNone/>
              <a:defRPr sz="813"/>
            </a:lvl3pPr>
            <a:lvl4pPr>
              <a:spcBef>
                <a:spcPts val="312"/>
              </a:spcBef>
              <a:defRPr sz="894">
                <a:solidFill>
                  <a:schemeClr val="tx1"/>
                </a:solidFill>
              </a:defRPr>
            </a:lvl4pPr>
            <a:lvl5pPr>
              <a:spcBef>
                <a:spcPts val="312"/>
              </a:spcBef>
              <a:defRPr sz="894"/>
            </a:lvl5pPr>
          </a:lstStyle>
          <a:p>
            <a:pPr lvl="0"/>
            <a:r>
              <a:rPr lang="en-US"/>
              <a:t>02</a:t>
            </a:r>
          </a:p>
        </p:txBody>
      </p:sp>
      <p:sp>
        <p:nvSpPr>
          <p:cNvPr id="10" name="Content Placeholder 2">
            <a:extLst>
              <a:ext uri="{FF2B5EF4-FFF2-40B4-BE49-F238E27FC236}">
                <a16:creationId xmlns:a16="http://schemas.microsoft.com/office/drawing/2014/main" id="{CCD8D59E-5C62-4E24-9256-E04252454134}"/>
              </a:ext>
            </a:extLst>
          </p:cNvPr>
          <p:cNvSpPr>
            <a:spLocks noGrp="1"/>
          </p:cNvSpPr>
          <p:nvPr>
            <p:ph idx="14" hasCustomPrompt="1"/>
          </p:nvPr>
        </p:nvSpPr>
        <p:spPr>
          <a:xfrm>
            <a:off x="2134693" y="1887264"/>
            <a:ext cx="6031567" cy="497928"/>
          </a:xfrm>
          <a:prstGeom prst="rect">
            <a:avLst/>
          </a:prstGeom>
        </p:spPr>
        <p:txBody>
          <a:bodyPr lIns="0">
            <a:noAutofit/>
          </a:bodyPr>
          <a:lstStyle>
            <a:lvl1pPr marL="0" indent="0">
              <a:lnSpc>
                <a:spcPct val="100000"/>
              </a:lnSpc>
              <a:spcBef>
                <a:spcPts val="312"/>
              </a:spcBef>
              <a:buFontTx/>
              <a:buNone/>
              <a:defRPr sz="1800">
                <a:latin typeface="Roboto Light" panose="02000000000000000000" pitchFamily="2" charset="0"/>
                <a:ea typeface="Roboto Light" panose="02000000000000000000" pitchFamily="2" charset="0"/>
              </a:defRPr>
            </a:lvl1pPr>
            <a:lvl2pPr marL="292794" indent="0">
              <a:spcBef>
                <a:spcPts val="312"/>
              </a:spcBef>
              <a:buFontTx/>
              <a:buNone/>
              <a:defRPr sz="813"/>
            </a:lvl2pPr>
            <a:lvl3pPr marL="508198" indent="0">
              <a:spcBef>
                <a:spcPts val="312"/>
              </a:spcBef>
              <a:buFontTx/>
              <a:buNone/>
              <a:defRPr sz="813"/>
            </a:lvl3pPr>
            <a:lvl4pPr>
              <a:spcBef>
                <a:spcPts val="312"/>
              </a:spcBef>
              <a:defRPr sz="894">
                <a:solidFill>
                  <a:schemeClr val="tx1"/>
                </a:solidFill>
              </a:defRPr>
            </a:lvl4pPr>
            <a:lvl5pPr>
              <a:spcBef>
                <a:spcPts val="312"/>
              </a:spcBef>
              <a:defRPr sz="894"/>
            </a:lvl5pPr>
          </a:lstStyle>
          <a:p>
            <a:pPr lvl="0"/>
            <a:r>
              <a:rPr lang="en-US"/>
              <a:t>Title</a:t>
            </a:r>
          </a:p>
        </p:txBody>
      </p:sp>
      <p:sp>
        <p:nvSpPr>
          <p:cNvPr id="12" name="Content Placeholder 2">
            <a:extLst>
              <a:ext uri="{FF2B5EF4-FFF2-40B4-BE49-F238E27FC236}">
                <a16:creationId xmlns:a16="http://schemas.microsoft.com/office/drawing/2014/main" id="{7AD91ACE-824E-45B3-AE03-CB9F40D749A2}"/>
              </a:ext>
            </a:extLst>
          </p:cNvPr>
          <p:cNvSpPr>
            <a:spLocks noGrp="1"/>
          </p:cNvSpPr>
          <p:nvPr>
            <p:ph idx="15" hasCustomPrompt="1"/>
          </p:nvPr>
        </p:nvSpPr>
        <p:spPr>
          <a:xfrm>
            <a:off x="981573" y="2366140"/>
            <a:ext cx="1018977" cy="497928"/>
          </a:xfrm>
          <a:prstGeom prst="rect">
            <a:avLst/>
          </a:prstGeom>
        </p:spPr>
        <p:txBody>
          <a:bodyPr lIns="0">
            <a:noAutofit/>
          </a:bodyPr>
          <a:lstStyle>
            <a:lvl1pPr marL="0" indent="0">
              <a:lnSpc>
                <a:spcPct val="100000"/>
              </a:lnSpc>
              <a:spcBef>
                <a:spcPts val="312"/>
              </a:spcBef>
              <a:buFontTx/>
              <a:buNone/>
              <a:defRPr sz="1800">
                <a:latin typeface="Roboto Light" panose="02000000000000000000" pitchFamily="2" charset="0"/>
                <a:ea typeface="Roboto Light" panose="02000000000000000000" pitchFamily="2" charset="0"/>
              </a:defRPr>
            </a:lvl1pPr>
            <a:lvl2pPr marL="292794" indent="0">
              <a:spcBef>
                <a:spcPts val="312"/>
              </a:spcBef>
              <a:buFontTx/>
              <a:buNone/>
              <a:defRPr sz="813"/>
            </a:lvl2pPr>
            <a:lvl3pPr marL="508198" indent="0">
              <a:spcBef>
                <a:spcPts val="312"/>
              </a:spcBef>
              <a:buFontTx/>
              <a:buNone/>
              <a:defRPr sz="813"/>
            </a:lvl3pPr>
            <a:lvl4pPr>
              <a:spcBef>
                <a:spcPts val="312"/>
              </a:spcBef>
              <a:defRPr sz="894">
                <a:solidFill>
                  <a:schemeClr val="tx1"/>
                </a:solidFill>
              </a:defRPr>
            </a:lvl4pPr>
            <a:lvl5pPr>
              <a:spcBef>
                <a:spcPts val="312"/>
              </a:spcBef>
              <a:defRPr sz="894"/>
            </a:lvl5pPr>
          </a:lstStyle>
          <a:p>
            <a:pPr lvl="0"/>
            <a:r>
              <a:rPr lang="en-US"/>
              <a:t>03</a:t>
            </a:r>
          </a:p>
        </p:txBody>
      </p:sp>
      <p:sp>
        <p:nvSpPr>
          <p:cNvPr id="13" name="Content Placeholder 2">
            <a:extLst>
              <a:ext uri="{FF2B5EF4-FFF2-40B4-BE49-F238E27FC236}">
                <a16:creationId xmlns:a16="http://schemas.microsoft.com/office/drawing/2014/main" id="{F1DE05EA-4872-40B7-9B7E-E3BFDBFD8327}"/>
              </a:ext>
            </a:extLst>
          </p:cNvPr>
          <p:cNvSpPr>
            <a:spLocks noGrp="1"/>
          </p:cNvSpPr>
          <p:nvPr>
            <p:ph idx="16" hasCustomPrompt="1"/>
          </p:nvPr>
        </p:nvSpPr>
        <p:spPr>
          <a:xfrm>
            <a:off x="2134693" y="2366140"/>
            <a:ext cx="6031567" cy="497928"/>
          </a:xfrm>
          <a:prstGeom prst="rect">
            <a:avLst/>
          </a:prstGeom>
        </p:spPr>
        <p:txBody>
          <a:bodyPr lIns="0">
            <a:noAutofit/>
          </a:bodyPr>
          <a:lstStyle>
            <a:lvl1pPr marL="0" indent="0">
              <a:lnSpc>
                <a:spcPct val="100000"/>
              </a:lnSpc>
              <a:spcBef>
                <a:spcPts val="312"/>
              </a:spcBef>
              <a:buFontTx/>
              <a:buNone/>
              <a:defRPr sz="1800">
                <a:latin typeface="Roboto Light" panose="02000000000000000000" pitchFamily="2" charset="0"/>
                <a:ea typeface="Roboto Light" panose="02000000000000000000" pitchFamily="2" charset="0"/>
              </a:defRPr>
            </a:lvl1pPr>
            <a:lvl2pPr marL="292794" indent="0">
              <a:spcBef>
                <a:spcPts val="312"/>
              </a:spcBef>
              <a:buFontTx/>
              <a:buNone/>
              <a:defRPr sz="813"/>
            </a:lvl2pPr>
            <a:lvl3pPr marL="508198" indent="0">
              <a:spcBef>
                <a:spcPts val="312"/>
              </a:spcBef>
              <a:buFontTx/>
              <a:buNone/>
              <a:defRPr sz="813"/>
            </a:lvl3pPr>
            <a:lvl4pPr>
              <a:spcBef>
                <a:spcPts val="312"/>
              </a:spcBef>
              <a:defRPr sz="894">
                <a:solidFill>
                  <a:schemeClr val="tx1"/>
                </a:solidFill>
              </a:defRPr>
            </a:lvl4pPr>
            <a:lvl5pPr>
              <a:spcBef>
                <a:spcPts val="312"/>
              </a:spcBef>
              <a:defRPr sz="894"/>
            </a:lvl5pPr>
          </a:lstStyle>
          <a:p>
            <a:pPr lvl="0"/>
            <a:r>
              <a:rPr lang="en-US"/>
              <a:t>Title</a:t>
            </a:r>
          </a:p>
        </p:txBody>
      </p:sp>
      <p:sp>
        <p:nvSpPr>
          <p:cNvPr id="14" name="Content Placeholder 2">
            <a:extLst>
              <a:ext uri="{FF2B5EF4-FFF2-40B4-BE49-F238E27FC236}">
                <a16:creationId xmlns:a16="http://schemas.microsoft.com/office/drawing/2014/main" id="{49D28C52-F441-400C-A705-F5FFD1D2BA7E}"/>
              </a:ext>
            </a:extLst>
          </p:cNvPr>
          <p:cNvSpPr>
            <a:spLocks noGrp="1"/>
          </p:cNvSpPr>
          <p:nvPr>
            <p:ph idx="17" hasCustomPrompt="1"/>
          </p:nvPr>
        </p:nvSpPr>
        <p:spPr>
          <a:xfrm>
            <a:off x="981573" y="2849779"/>
            <a:ext cx="1018977" cy="497928"/>
          </a:xfrm>
          <a:prstGeom prst="rect">
            <a:avLst/>
          </a:prstGeom>
        </p:spPr>
        <p:txBody>
          <a:bodyPr lIns="0">
            <a:noAutofit/>
          </a:bodyPr>
          <a:lstStyle>
            <a:lvl1pPr marL="0" indent="0">
              <a:lnSpc>
                <a:spcPct val="100000"/>
              </a:lnSpc>
              <a:spcBef>
                <a:spcPts val="312"/>
              </a:spcBef>
              <a:buFontTx/>
              <a:buNone/>
              <a:defRPr sz="1800">
                <a:latin typeface="Roboto Light" panose="02000000000000000000" pitchFamily="2" charset="0"/>
                <a:ea typeface="Roboto Light" panose="02000000000000000000" pitchFamily="2" charset="0"/>
              </a:defRPr>
            </a:lvl1pPr>
            <a:lvl2pPr marL="292794" indent="0">
              <a:spcBef>
                <a:spcPts val="312"/>
              </a:spcBef>
              <a:buFontTx/>
              <a:buNone/>
              <a:defRPr sz="813"/>
            </a:lvl2pPr>
            <a:lvl3pPr marL="508198" indent="0">
              <a:spcBef>
                <a:spcPts val="312"/>
              </a:spcBef>
              <a:buFontTx/>
              <a:buNone/>
              <a:defRPr sz="813"/>
            </a:lvl3pPr>
            <a:lvl4pPr>
              <a:spcBef>
                <a:spcPts val="312"/>
              </a:spcBef>
              <a:defRPr sz="894">
                <a:solidFill>
                  <a:schemeClr val="tx1"/>
                </a:solidFill>
              </a:defRPr>
            </a:lvl4pPr>
            <a:lvl5pPr>
              <a:spcBef>
                <a:spcPts val="312"/>
              </a:spcBef>
              <a:defRPr sz="894"/>
            </a:lvl5pPr>
          </a:lstStyle>
          <a:p>
            <a:pPr lvl="0"/>
            <a:r>
              <a:rPr lang="en-US"/>
              <a:t>04</a:t>
            </a:r>
          </a:p>
        </p:txBody>
      </p:sp>
      <p:sp>
        <p:nvSpPr>
          <p:cNvPr id="15" name="Content Placeholder 2">
            <a:extLst>
              <a:ext uri="{FF2B5EF4-FFF2-40B4-BE49-F238E27FC236}">
                <a16:creationId xmlns:a16="http://schemas.microsoft.com/office/drawing/2014/main" id="{86037705-C97F-4692-9618-5701A534375E}"/>
              </a:ext>
            </a:extLst>
          </p:cNvPr>
          <p:cNvSpPr>
            <a:spLocks noGrp="1"/>
          </p:cNvSpPr>
          <p:nvPr>
            <p:ph idx="18" hasCustomPrompt="1"/>
          </p:nvPr>
        </p:nvSpPr>
        <p:spPr>
          <a:xfrm>
            <a:off x="2134693" y="2849779"/>
            <a:ext cx="6031567" cy="497928"/>
          </a:xfrm>
          <a:prstGeom prst="rect">
            <a:avLst/>
          </a:prstGeom>
        </p:spPr>
        <p:txBody>
          <a:bodyPr lIns="0">
            <a:noAutofit/>
          </a:bodyPr>
          <a:lstStyle>
            <a:lvl1pPr marL="0" indent="0">
              <a:lnSpc>
                <a:spcPct val="100000"/>
              </a:lnSpc>
              <a:spcBef>
                <a:spcPts val="312"/>
              </a:spcBef>
              <a:buFontTx/>
              <a:buNone/>
              <a:defRPr sz="1800">
                <a:latin typeface="Roboto Light" panose="02000000000000000000" pitchFamily="2" charset="0"/>
                <a:ea typeface="Roboto Light" panose="02000000000000000000" pitchFamily="2" charset="0"/>
              </a:defRPr>
            </a:lvl1pPr>
            <a:lvl2pPr marL="292794" indent="0">
              <a:spcBef>
                <a:spcPts val="312"/>
              </a:spcBef>
              <a:buFontTx/>
              <a:buNone/>
              <a:defRPr sz="813"/>
            </a:lvl2pPr>
            <a:lvl3pPr marL="508198" indent="0">
              <a:spcBef>
                <a:spcPts val="312"/>
              </a:spcBef>
              <a:buFontTx/>
              <a:buNone/>
              <a:defRPr sz="813"/>
            </a:lvl3pPr>
            <a:lvl4pPr>
              <a:spcBef>
                <a:spcPts val="312"/>
              </a:spcBef>
              <a:defRPr sz="894">
                <a:solidFill>
                  <a:schemeClr val="tx1"/>
                </a:solidFill>
              </a:defRPr>
            </a:lvl4pPr>
            <a:lvl5pPr>
              <a:spcBef>
                <a:spcPts val="312"/>
              </a:spcBef>
              <a:defRPr sz="894"/>
            </a:lvl5pPr>
          </a:lstStyle>
          <a:p>
            <a:pPr lvl="0"/>
            <a:r>
              <a:rPr lang="en-US"/>
              <a:t>Title</a:t>
            </a:r>
          </a:p>
        </p:txBody>
      </p:sp>
      <p:sp>
        <p:nvSpPr>
          <p:cNvPr id="16" name="Content Placeholder 2">
            <a:extLst>
              <a:ext uri="{FF2B5EF4-FFF2-40B4-BE49-F238E27FC236}">
                <a16:creationId xmlns:a16="http://schemas.microsoft.com/office/drawing/2014/main" id="{B31439CD-370E-41A1-944D-D2F3FE4472D5}"/>
              </a:ext>
            </a:extLst>
          </p:cNvPr>
          <p:cNvSpPr>
            <a:spLocks noGrp="1"/>
          </p:cNvSpPr>
          <p:nvPr>
            <p:ph idx="19" hasCustomPrompt="1"/>
          </p:nvPr>
        </p:nvSpPr>
        <p:spPr>
          <a:xfrm>
            <a:off x="981573" y="3328655"/>
            <a:ext cx="1018977" cy="497928"/>
          </a:xfrm>
          <a:prstGeom prst="rect">
            <a:avLst/>
          </a:prstGeom>
        </p:spPr>
        <p:txBody>
          <a:bodyPr lIns="0">
            <a:noAutofit/>
          </a:bodyPr>
          <a:lstStyle>
            <a:lvl1pPr marL="0" indent="0">
              <a:lnSpc>
                <a:spcPct val="100000"/>
              </a:lnSpc>
              <a:spcBef>
                <a:spcPts val="312"/>
              </a:spcBef>
              <a:buFontTx/>
              <a:buNone/>
              <a:defRPr sz="1800">
                <a:latin typeface="Roboto Light" panose="02000000000000000000" pitchFamily="2" charset="0"/>
                <a:ea typeface="Roboto Light" panose="02000000000000000000" pitchFamily="2" charset="0"/>
              </a:defRPr>
            </a:lvl1pPr>
            <a:lvl2pPr marL="292794" indent="0">
              <a:spcBef>
                <a:spcPts val="312"/>
              </a:spcBef>
              <a:buFontTx/>
              <a:buNone/>
              <a:defRPr sz="813"/>
            </a:lvl2pPr>
            <a:lvl3pPr marL="508198" indent="0">
              <a:spcBef>
                <a:spcPts val="312"/>
              </a:spcBef>
              <a:buFontTx/>
              <a:buNone/>
              <a:defRPr sz="813"/>
            </a:lvl3pPr>
            <a:lvl4pPr>
              <a:spcBef>
                <a:spcPts val="312"/>
              </a:spcBef>
              <a:defRPr sz="894">
                <a:solidFill>
                  <a:schemeClr val="tx1"/>
                </a:solidFill>
              </a:defRPr>
            </a:lvl4pPr>
            <a:lvl5pPr>
              <a:spcBef>
                <a:spcPts val="312"/>
              </a:spcBef>
              <a:defRPr sz="894"/>
            </a:lvl5pPr>
          </a:lstStyle>
          <a:p>
            <a:pPr lvl="0"/>
            <a:r>
              <a:rPr lang="en-US"/>
              <a:t>05</a:t>
            </a:r>
          </a:p>
        </p:txBody>
      </p:sp>
      <p:sp>
        <p:nvSpPr>
          <p:cNvPr id="17" name="Content Placeholder 2">
            <a:extLst>
              <a:ext uri="{FF2B5EF4-FFF2-40B4-BE49-F238E27FC236}">
                <a16:creationId xmlns:a16="http://schemas.microsoft.com/office/drawing/2014/main" id="{106ACA09-6AC0-433B-9083-CB88F8B25206}"/>
              </a:ext>
            </a:extLst>
          </p:cNvPr>
          <p:cNvSpPr>
            <a:spLocks noGrp="1"/>
          </p:cNvSpPr>
          <p:nvPr>
            <p:ph idx="20" hasCustomPrompt="1"/>
          </p:nvPr>
        </p:nvSpPr>
        <p:spPr>
          <a:xfrm>
            <a:off x="2134693" y="3328655"/>
            <a:ext cx="6031567" cy="497928"/>
          </a:xfrm>
          <a:prstGeom prst="rect">
            <a:avLst/>
          </a:prstGeom>
        </p:spPr>
        <p:txBody>
          <a:bodyPr lIns="0">
            <a:noAutofit/>
          </a:bodyPr>
          <a:lstStyle>
            <a:lvl1pPr marL="0" indent="0">
              <a:lnSpc>
                <a:spcPct val="100000"/>
              </a:lnSpc>
              <a:spcBef>
                <a:spcPts val="312"/>
              </a:spcBef>
              <a:buFontTx/>
              <a:buNone/>
              <a:defRPr sz="1800">
                <a:latin typeface="Roboto Light" panose="02000000000000000000" pitchFamily="2" charset="0"/>
                <a:ea typeface="Roboto Light" panose="02000000000000000000" pitchFamily="2" charset="0"/>
              </a:defRPr>
            </a:lvl1pPr>
            <a:lvl2pPr marL="292794" indent="0">
              <a:spcBef>
                <a:spcPts val="312"/>
              </a:spcBef>
              <a:buFontTx/>
              <a:buNone/>
              <a:defRPr sz="813"/>
            </a:lvl2pPr>
            <a:lvl3pPr marL="508198" indent="0">
              <a:spcBef>
                <a:spcPts val="312"/>
              </a:spcBef>
              <a:buFontTx/>
              <a:buNone/>
              <a:defRPr sz="813"/>
            </a:lvl3pPr>
            <a:lvl4pPr>
              <a:spcBef>
                <a:spcPts val="312"/>
              </a:spcBef>
              <a:defRPr sz="894">
                <a:solidFill>
                  <a:schemeClr val="tx1"/>
                </a:solidFill>
              </a:defRPr>
            </a:lvl4pPr>
            <a:lvl5pPr>
              <a:spcBef>
                <a:spcPts val="312"/>
              </a:spcBef>
              <a:defRPr sz="894"/>
            </a:lvl5pPr>
          </a:lstStyle>
          <a:p>
            <a:pPr lvl="0"/>
            <a:r>
              <a:rPr lang="en-US"/>
              <a:t>Title</a:t>
            </a:r>
          </a:p>
        </p:txBody>
      </p:sp>
      <p:sp>
        <p:nvSpPr>
          <p:cNvPr id="18" name="Content Placeholder 2">
            <a:extLst>
              <a:ext uri="{FF2B5EF4-FFF2-40B4-BE49-F238E27FC236}">
                <a16:creationId xmlns:a16="http://schemas.microsoft.com/office/drawing/2014/main" id="{2C93E8CE-25D1-484C-A371-8D8133C54BB7}"/>
              </a:ext>
            </a:extLst>
          </p:cNvPr>
          <p:cNvSpPr>
            <a:spLocks noGrp="1"/>
          </p:cNvSpPr>
          <p:nvPr>
            <p:ph idx="21" hasCustomPrompt="1"/>
          </p:nvPr>
        </p:nvSpPr>
        <p:spPr>
          <a:xfrm>
            <a:off x="981573" y="3802436"/>
            <a:ext cx="1018977" cy="497928"/>
          </a:xfrm>
          <a:prstGeom prst="rect">
            <a:avLst/>
          </a:prstGeom>
        </p:spPr>
        <p:txBody>
          <a:bodyPr lIns="0">
            <a:noAutofit/>
          </a:bodyPr>
          <a:lstStyle>
            <a:lvl1pPr marL="0" indent="0">
              <a:lnSpc>
                <a:spcPct val="100000"/>
              </a:lnSpc>
              <a:spcBef>
                <a:spcPts val="312"/>
              </a:spcBef>
              <a:buFontTx/>
              <a:buNone/>
              <a:defRPr sz="1800">
                <a:latin typeface="Roboto Light" panose="02000000000000000000" pitchFamily="2" charset="0"/>
                <a:ea typeface="Roboto Light" panose="02000000000000000000" pitchFamily="2" charset="0"/>
              </a:defRPr>
            </a:lvl1pPr>
            <a:lvl2pPr marL="292794" indent="0">
              <a:spcBef>
                <a:spcPts val="312"/>
              </a:spcBef>
              <a:buFontTx/>
              <a:buNone/>
              <a:defRPr sz="813"/>
            </a:lvl2pPr>
            <a:lvl3pPr marL="508198" indent="0">
              <a:spcBef>
                <a:spcPts val="312"/>
              </a:spcBef>
              <a:buFontTx/>
              <a:buNone/>
              <a:defRPr sz="813"/>
            </a:lvl3pPr>
            <a:lvl4pPr>
              <a:spcBef>
                <a:spcPts val="312"/>
              </a:spcBef>
              <a:defRPr sz="894">
                <a:solidFill>
                  <a:schemeClr val="tx1"/>
                </a:solidFill>
              </a:defRPr>
            </a:lvl4pPr>
            <a:lvl5pPr>
              <a:spcBef>
                <a:spcPts val="312"/>
              </a:spcBef>
              <a:defRPr sz="894"/>
            </a:lvl5pPr>
          </a:lstStyle>
          <a:p>
            <a:pPr lvl="0"/>
            <a:r>
              <a:rPr lang="en-US"/>
              <a:t>06</a:t>
            </a:r>
          </a:p>
        </p:txBody>
      </p:sp>
      <p:sp>
        <p:nvSpPr>
          <p:cNvPr id="19" name="Content Placeholder 2">
            <a:extLst>
              <a:ext uri="{FF2B5EF4-FFF2-40B4-BE49-F238E27FC236}">
                <a16:creationId xmlns:a16="http://schemas.microsoft.com/office/drawing/2014/main" id="{DAA97B61-EBF4-478E-AEE0-14BCD3B5C5B9}"/>
              </a:ext>
            </a:extLst>
          </p:cNvPr>
          <p:cNvSpPr>
            <a:spLocks noGrp="1"/>
          </p:cNvSpPr>
          <p:nvPr>
            <p:ph idx="22" hasCustomPrompt="1"/>
          </p:nvPr>
        </p:nvSpPr>
        <p:spPr>
          <a:xfrm>
            <a:off x="2134693" y="3802436"/>
            <a:ext cx="6031567" cy="497928"/>
          </a:xfrm>
          <a:prstGeom prst="rect">
            <a:avLst/>
          </a:prstGeom>
        </p:spPr>
        <p:txBody>
          <a:bodyPr lIns="0">
            <a:noAutofit/>
          </a:bodyPr>
          <a:lstStyle>
            <a:lvl1pPr marL="0" indent="0">
              <a:lnSpc>
                <a:spcPct val="100000"/>
              </a:lnSpc>
              <a:spcBef>
                <a:spcPts val="312"/>
              </a:spcBef>
              <a:buFontTx/>
              <a:buNone/>
              <a:defRPr sz="1800">
                <a:latin typeface="Roboto Light" panose="02000000000000000000" pitchFamily="2" charset="0"/>
                <a:ea typeface="Roboto Light" panose="02000000000000000000" pitchFamily="2" charset="0"/>
              </a:defRPr>
            </a:lvl1pPr>
            <a:lvl2pPr marL="292794" indent="0">
              <a:spcBef>
                <a:spcPts val="312"/>
              </a:spcBef>
              <a:buFontTx/>
              <a:buNone/>
              <a:defRPr sz="813"/>
            </a:lvl2pPr>
            <a:lvl3pPr marL="508198" indent="0">
              <a:spcBef>
                <a:spcPts val="312"/>
              </a:spcBef>
              <a:buFontTx/>
              <a:buNone/>
              <a:defRPr sz="813"/>
            </a:lvl3pPr>
            <a:lvl4pPr>
              <a:spcBef>
                <a:spcPts val="312"/>
              </a:spcBef>
              <a:defRPr sz="894">
                <a:solidFill>
                  <a:schemeClr val="tx1"/>
                </a:solidFill>
              </a:defRPr>
            </a:lvl4pPr>
            <a:lvl5pPr>
              <a:spcBef>
                <a:spcPts val="312"/>
              </a:spcBef>
              <a:defRPr sz="894"/>
            </a:lvl5pPr>
          </a:lstStyle>
          <a:p>
            <a:pPr lvl="0"/>
            <a:r>
              <a:rPr lang="en-US"/>
              <a:t>Title</a:t>
            </a:r>
          </a:p>
        </p:txBody>
      </p:sp>
      <p:sp>
        <p:nvSpPr>
          <p:cNvPr id="20" name="Content Placeholder 2">
            <a:extLst>
              <a:ext uri="{FF2B5EF4-FFF2-40B4-BE49-F238E27FC236}">
                <a16:creationId xmlns:a16="http://schemas.microsoft.com/office/drawing/2014/main" id="{6EE756CC-C3A2-450E-BC5E-257F5DE000F9}"/>
              </a:ext>
            </a:extLst>
          </p:cNvPr>
          <p:cNvSpPr>
            <a:spLocks noGrp="1"/>
          </p:cNvSpPr>
          <p:nvPr>
            <p:ph idx="23" hasCustomPrompt="1"/>
          </p:nvPr>
        </p:nvSpPr>
        <p:spPr>
          <a:xfrm>
            <a:off x="981573" y="4283607"/>
            <a:ext cx="1018977" cy="497928"/>
          </a:xfrm>
          <a:prstGeom prst="rect">
            <a:avLst/>
          </a:prstGeom>
        </p:spPr>
        <p:txBody>
          <a:bodyPr lIns="0">
            <a:noAutofit/>
          </a:bodyPr>
          <a:lstStyle>
            <a:lvl1pPr marL="0" indent="0">
              <a:lnSpc>
                <a:spcPct val="100000"/>
              </a:lnSpc>
              <a:spcBef>
                <a:spcPts val="312"/>
              </a:spcBef>
              <a:buFontTx/>
              <a:buNone/>
              <a:defRPr sz="1800">
                <a:latin typeface="Roboto Light" panose="02000000000000000000" pitchFamily="2" charset="0"/>
                <a:ea typeface="Roboto Light" panose="02000000000000000000" pitchFamily="2" charset="0"/>
              </a:defRPr>
            </a:lvl1pPr>
            <a:lvl2pPr marL="292794" indent="0">
              <a:spcBef>
                <a:spcPts val="312"/>
              </a:spcBef>
              <a:buFontTx/>
              <a:buNone/>
              <a:defRPr sz="813"/>
            </a:lvl2pPr>
            <a:lvl3pPr marL="508198" indent="0">
              <a:spcBef>
                <a:spcPts val="312"/>
              </a:spcBef>
              <a:buFontTx/>
              <a:buNone/>
              <a:defRPr sz="813"/>
            </a:lvl3pPr>
            <a:lvl4pPr>
              <a:spcBef>
                <a:spcPts val="312"/>
              </a:spcBef>
              <a:defRPr sz="894">
                <a:solidFill>
                  <a:schemeClr val="tx1"/>
                </a:solidFill>
              </a:defRPr>
            </a:lvl4pPr>
            <a:lvl5pPr>
              <a:spcBef>
                <a:spcPts val="312"/>
              </a:spcBef>
              <a:defRPr sz="894"/>
            </a:lvl5pPr>
          </a:lstStyle>
          <a:p>
            <a:pPr lvl="0"/>
            <a:r>
              <a:rPr lang="en-US"/>
              <a:t>07</a:t>
            </a:r>
          </a:p>
        </p:txBody>
      </p:sp>
      <p:sp>
        <p:nvSpPr>
          <p:cNvPr id="21" name="Content Placeholder 2">
            <a:extLst>
              <a:ext uri="{FF2B5EF4-FFF2-40B4-BE49-F238E27FC236}">
                <a16:creationId xmlns:a16="http://schemas.microsoft.com/office/drawing/2014/main" id="{4263AF46-DD7E-4303-9FF3-9650B502E8CD}"/>
              </a:ext>
            </a:extLst>
          </p:cNvPr>
          <p:cNvSpPr>
            <a:spLocks noGrp="1"/>
          </p:cNvSpPr>
          <p:nvPr>
            <p:ph idx="24" hasCustomPrompt="1"/>
          </p:nvPr>
        </p:nvSpPr>
        <p:spPr>
          <a:xfrm>
            <a:off x="2134693" y="4283607"/>
            <a:ext cx="6031567" cy="497928"/>
          </a:xfrm>
          <a:prstGeom prst="rect">
            <a:avLst/>
          </a:prstGeom>
        </p:spPr>
        <p:txBody>
          <a:bodyPr lIns="0">
            <a:noAutofit/>
          </a:bodyPr>
          <a:lstStyle>
            <a:lvl1pPr marL="0" indent="0">
              <a:lnSpc>
                <a:spcPct val="100000"/>
              </a:lnSpc>
              <a:spcBef>
                <a:spcPts val="312"/>
              </a:spcBef>
              <a:buFontTx/>
              <a:buNone/>
              <a:defRPr sz="1800">
                <a:latin typeface="Roboto Light" panose="02000000000000000000" pitchFamily="2" charset="0"/>
                <a:ea typeface="Roboto Light" panose="02000000000000000000" pitchFamily="2" charset="0"/>
              </a:defRPr>
            </a:lvl1pPr>
            <a:lvl2pPr marL="292794" indent="0">
              <a:spcBef>
                <a:spcPts val="312"/>
              </a:spcBef>
              <a:buFontTx/>
              <a:buNone/>
              <a:defRPr sz="813"/>
            </a:lvl2pPr>
            <a:lvl3pPr marL="508198" indent="0">
              <a:spcBef>
                <a:spcPts val="312"/>
              </a:spcBef>
              <a:buFontTx/>
              <a:buNone/>
              <a:defRPr sz="813"/>
            </a:lvl3pPr>
            <a:lvl4pPr>
              <a:spcBef>
                <a:spcPts val="312"/>
              </a:spcBef>
              <a:defRPr sz="894">
                <a:solidFill>
                  <a:schemeClr val="tx1"/>
                </a:solidFill>
              </a:defRPr>
            </a:lvl4pPr>
            <a:lvl5pPr>
              <a:spcBef>
                <a:spcPts val="312"/>
              </a:spcBef>
              <a:defRPr sz="894"/>
            </a:lvl5pPr>
          </a:lstStyle>
          <a:p>
            <a:pPr lvl="0"/>
            <a:r>
              <a:rPr lang="en-US"/>
              <a:t>Title</a:t>
            </a:r>
          </a:p>
        </p:txBody>
      </p:sp>
      <p:sp>
        <p:nvSpPr>
          <p:cNvPr id="22" name="Content Placeholder 2">
            <a:extLst>
              <a:ext uri="{FF2B5EF4-FFF2-40B4-BE49-F238E27FC236}">
                <a16:creationId xmlns:a16="http://schemas.microsoft.com/office/drawing/2014/main" id="{4CB55367-6B4F-421A-8F52-1C63066FC5AA}"/>
              </a:ext>
            </a:extLst>
          </p:cNvPr>
          <p:cNvSpPr>
            <a:spLocks noGrp="1"/>
          </p:cNvSpPr>
          <p:nvPr>
            <p:ph idx="25" hasCustomPrompt="1"/>
          </p:nvPr>
        </p:nvSpPr>
        <p:spPr>
          <a:xfrm>
            <a:off x="981573" y="4759682"/>
            <a:ext cx="1018977" cy="497928"/>
          </a:xfrm>
          <a:prstGeom prst="rect">
            <a:avLst/>
          </a:prstGeom>
        </p:spPr>
        <p:txBody>
          <a:bodyPr lIns="0">
            <a:noAutofit/>
          </a:bodyPr>
          <a:lstStyle>
            <a:lvl1pPr marL="0" indent="0">
              <a:lnSpc>
                <a:spcPct val="100000"/>
              </a:lnSpc>
              <a:spcBef>
                <a:spcPts val="312"/>
              </a:spcBef>
              <a:buFontTx/>
              <a:buNone/>
              <a:defRPr sz="1800">
                <a:latin typeface="Roboto Light" panose="02000000000000000000" pitchFamily="2" charset="0"/>
                <a:ea typeface="Roboto Light" panose="02000000000000000000" pitchFamily="2" charset="0"/>
              </a:defRPr>
            </a:lvl1pPr>
            <a:lvl2pPr marL="292794" indent="0">
              <a:spcBef>
                <a:spcPts val="312"/>
              </a:spcBef>
              <a:buFontTx/>
              <a:buNone/>
              <a:defRPr sz="813"/>
            </a:lvl2pPr>
            <a:lvl3pPr marL="508198" indent="0">
              <a:spcBef>
                <a:spcPts val="312"/>
              </a:spcBef>
              <a:buFontTx/>
              <a:buNone/>
              <a:defRPr sz="813"/>
            </a:lvl3pPr>
            <a:lvl4pPr>
              <a:spcBef>
                <a:spcPts val="312"/>
              </a:spcBef>
              <a:defRPr sz="894">
                <a:solidFill>
                  <a:schemeClr val="tx1"/>
                </a:solidFill>
              </a:defRPr>
            </a:lvl4pPr>
            <a:lvl5pPr>
              <a:spcBef>
                <a:spcPts val="312"/>
              </a:spcBef>
              <a:defRPr sz="894"/>
            </a:lvl5pPr>
          </a:lstStyle>
          <a:p>
            <a:pPr lvl="0"/>
            <a:r>
              <a:rPr lang="en-US"/>
              <a:t>08</a:t>
            </a:r>
          </a:p>
        </p:txBody>
      </p:sp>
      <p:sp>
        <p:nvSpPr>
          <p:cNvPr id="23" name="Content Placeholder 2">
            <a:extLst>
              <a:ext uri="{FF2B5EF4-FFF2-40B4-BE49-F238E27FC236}">
                <a16:creationId xmlns:a16="http://schemas.microsoft.com/office/drawing/2014/main" id="{3522AD67-59CB-4AA2-BB0E-92A4639924BB}"/>
              </a:ext>
            </a:extLst>
          </p:cNvPr>
          <p:cNvSpPr>
            <a:spLocks noGrp="1"/>
          </p:cNvSpPr>
          <p:nvPr>
            <p:ph idx="26" hasCustomPrompt="1"/>
          </p:nvPr>
        </p:nvSpPr>
        <p:spPr>
          <a:xfrm>
            <a:off x="2134693" y="4759682"/>
            <a:ext cx="6031567" cy="497928"/>
          </a:xfrm>
          <a:prstGeom prst="rect">
            <a:avLst/>
          </a:prstGeom>
        </p:spPr>
        <p:txBody>
          <a:bodyPr lIns="0">
            <a:noAutofit/>
          </a:bodyPr>
          <a:lstStyle>
            <a:lvl1pPr marL="0" indent="0">
              <a:lnSpc>
                <a:spcPct val="100000"/>
              </a:lnSpc>
              <a:spcBef>
                <a:spcPts val="312"/>
              </a:spcBef>
              <a:buFontTx/>
              <a:buNone/>
              <a:defRPr sz="1800">
                <a:latin typeface="Roboto Light" panose="02000000000000000000" pitchFamily="2" charset="0"/>
                <a:ea typeface="Roboto Light" panose="02000000000000000000" pitchFamily="2" charset="0"/>
              </a:defRPr>
            </a:lvl1pPr>
            <a:lvl2pPr marL="292794" indent="0">
              <a:spcBef>
                <a:spcPts val="312"/>
              </a:spcBef>
              <a:buFontTx/>
              <a:buNone/>
              <a:defRPr sz="813"/>
            </a:lvl2pPr>
            <a:lvl3pPr marL="508198" indent="0">
              <a:spcBef>
                <a:spcPts val="312"/>
              </a:spcBef>
              <a:buFontTx/>
              <a:buNone/>
              <a:defRPr sz="813"/>
            </a:lvl3pPr>
            <a:lvl4pPr>
              <a:spcBef>
                <a:spcPts val="312"/>
              </a:spcBef>
              <a:defRPr sz="894">
                <a:solidFill>
                  <a:schemeClr val="tx1"/>
                </a:solidFill>
              </a:defRPr>
            </a:lvl4pPr>
            <a:lvl5pPr>
              <a:spcBef>
                <a:spcPts val="312"/>
              </a:spcBef>
              <a:defRPr sz="894"/>
            </a:lvl5pPr>
          </a:lstStyle>
          <a:p>
            <a:pPr lvl="0"/>
            <a:r>
              <a:rPr lang="en-US"/>
              <a:t>Title</a:t>
            </a:r>
          </a:p>
        </p:txBody>
      </p:sp>
    </p:spTree>
    <p:extLst>
      <p:ext uri="{BB962C8B-B14F-4D97-AF65-F5344CB8AC3E}">
        <p14:creationId xmlns:p14="http://schemas.microsoft.com/office/powerpoint/2010/main" val="3985991010"/>
      </p:ext>
    </p:extLst>
  </p:cSld>
  <p:clrMapOvr>
    <a:masterClrMapping/>
  </p:clrMapOvr>
  <p:extLst>
    <p:ext uri="{DCECCB84-F9BA-43D5-87BE-67443E8EF086}">
      <p15:sldGuideLst xmlns:p15="http://schemas.microsoft.com/office/powerpoint/2012/main">
        <p15:guide id="1" orient="horz" pos="1032">
          <p15:clr>
            <a:srgbClr val="FBAE40"/>
          </p15:clr>
        </p15:guide>
        <p15:guide id="2" orient="horz" pos="1338">
          <p15:clr>
            <a:srgbClr val="FBAE40"/>
          </p15:clr>
        </p15:guide>
        <p15:guide id="3" orient="horz" pos="1638">
          <p15:clr>
            <a:srgbClr val="FBAE40"/>
          </p15:clr>
        </p15:guide>
        <p15:guide id="4" orient="horz" pos="1941">
          <p15:clr>
            <a:srgbClr val="FBAE40"/>
          </p15:clr>
        </p15:guide>
        <p15:guide id="5" orient="horz" pos="2244">
          <p15:clr>
            <a:srgbClr val="FBAE40"/>
          </p15:clr>
        </p15:guide>
        <p15:guide id="6" orient="horz" pos="2544">
          <p15:clr>
            <a:srgbClr val="FBAE40"/>
          </p15:clr>
        </p15:guide>
        <p15:guide id="7" orient="horz" pos="2847">
          <p15:clr>
            <a:srgbClr val="FBAE40"/>
          </p15:clr>
        </p15:guide>
        <p15:guide id="8" orient="horz" pos="314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Heading blank">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77CBFDA-B1A5-4C2F-8CF8-6CF91A703208}"/>
              </a:ext>
            </a:extLst>
          </p:cNvPr>
          <p:cNvGraphicFramePr>
            <a:graphicFrameLocks noChangeAspect="1"/>
          </p:cNvGraphicFramePr>
          <p:nvPr>
            <p:custDataLst>
              <p:tags r:id="rId1"/>
            </p:custDataLst>
            <p:extLst>
              <p:ext uri="{D42A27DB-BD31-4B8C-83A1-F6EECF244321}">
                <p14:modId xmlns:p14="http://schemas.microsoft.com/office/powerpoint/2010/main" val="1224398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4" name="Object 3" hidden="1">
                        <a:extLst>
                          <a:ext uri="{FF2B5EF4-FFF2-40B4-BE49-F238E27FC236}">
                            <a16:creationId xmlns:a16="http://schemas.microsoft.com/office/drawing/2014/main" id="{777CBFDA-B1A5-4C2F-8CF8-6CF91A70320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5D7378D8-290D-4DFC-82EB-0B650BC21A3A}"/>
              </a:ext>
            </a:extLst>
          </p:cNvPr>
          <p:cNvSpPr>
            <a:spLocks noGrp="1"/>
          </p:cNvSpPr>
          <p:nvPr>
            <p:ph idx="1" hasCustomPrompt="1"/>
          </p:nvPr>
        </p:nvSpPr>
        <p:spPr>
          <a:xfrm>
            <a:off x="972543" y="453373"/>
            <a:ext cx="8515548" cy="823911"/>
          </a:xfrm>
          <a:prstGeom prst="rect">
            <a:avLst/>
          </a:prstGeom>
        </p:spPr>
        <p:txBody>
          <a:bodyPr lIns="0" tIns="0">
            <a:noAutofit/>
          </a:bodyPr>
          <a:lstStyle>
            <a:lvl1pPr marL="0" indent="0">
              <a:lnSpc>
                <a:spcPct val="100000"/>
              </a:lnSpc>
              <a:buFontTx/>
              <a:buNone/>
              <a:defRPr sz="2400"/>
            </a:lvl1pPr>
            <a:lvl2pPr marL="371475" indent="0">
              <a:buFontTx/>
              <a:buNone/>
              <a:defRPr/>
            </a:lvl2pPr>
            <a:lvl3pPr marL="742950" indent="0">
              <a:buFontTx/>
              <a:buNone/>
              <a:defRPr/>
            </a:lvl3pPr>
            <a:lvl4pPr marL="1114425" indent="0">
              <a:buFontTx/>
              <a:buNone/>
              <a:defRPr/>
            </a:lvl4pPr>
            <a:lvl5pPr marL="1485900" indent="0">
              <a:buFontTx/>
              <a:buNone/>
              <a:defRPr/>
            </a:lvl5pPr>
          </a:lstStyle>
          <a:p>
            <a:pPr lvl="0"/>
            <a:r>
              <a:rPr lang="en-AU"/>
              <a:t>Insert page heading (max two lines)</a:t>
            </a:r>
            <a:endParaRPr lang="en-US"/>
          </a:p>
        </p:txBody>
      </p:sp>
      <p:sp>
        <p:nvSpPr>
          <p:cNvPr id="5" name="Content Placeholder 2">
            <a:extLst>
              <a:ext uri="{FF2B5EF4-FFF2-40B4-BE49-F238E27FC236}">
                <a16:creationId xmlns:a16="http://schemas.microsoft.com/office/drawing/2014/main" id="{2A704F4F-567F-4966-9358-8390F30ED354}"/>
              </a:ext>
            </a:extLst>
          </p:cNvPr>
          <p:cNvSpPr>
            <a:spLocks noGrp="1"/>
          </p:cNvSpPr>
          <p:nvPr>
            <p:ph idx="10" hasCustomPrompt="1"/>
          </p:nvPr>
        </p:nvSpPr>
        <p:spPr>
          <a:xfrm>
            <a:off x="972543" y="1693088"/>
            <a:ext cx="8515548" cy="4328300"/>
          </a:xfrm>
          <a:prstGeom prst="rect">
            <a:avLst/>
          </a:prstGeom>
        </p:spPr>
        <p:txBody>
          <a:bodyPr lIns="0" tIns="0">
            <a:noAutofit/>
          </a:bodyPr>
          <a:lstStyle>
            <a:lvl1pPr marL="0" indent="0">
              <a:lnSpc>
                <a:spcPct val="100000"/>
              </a:lnSpc>
              <a:buSzPct val="100000"/>
              <a:buFontTx/>
              <a:buNone/>
              <a:defRPr sz="1400">
                <a:latin typeface="+mj-lt"/>
              </a:defRPr>
            </a:lvl1pPr>
            <a:lvl2pPr marL="371475" indent="0">
              <a:buFont typeface="+mj-lt"/>
              <a:buNone/>
              <a:defRPr sz="1200">
                <a:latin typeface="+mj-lt"/>
              </a:defRPr>
            </a:lvl2pPr>
            <a:lvl3pPr marL="742950" indent="0">
              <a:buFontTx/>
              <a:buNone/>
              <a:defRPr/>
            </a:lvl3pPr>
            <a:lvl4pPr marL="1114425" indent="0">
              <a:buFontTx/>
              <a:buNone/>
              <a:defRPr/>
            </a:lvl4pPr>
            <a:lvl5pPr marL="1485900" indent="0">
              <a:buFontTx/>
              <a:buNone/>
              <a:defRPr/>
            </a:lvl5pPr>
          </a:lstStyle>
          <a:p>
            <a:pPr lvl="0"/>
            <a:r>
              <a:rPr lang="en-AU"/>
              <a:t>Insert content here</a:t>
            </a:r>
          </a:p>
        </p:txBody>
      </p:sp>
    </p:spTree>
    <p:extLst>
      <p:ext uri="{BB962C8B-B14F-4D97-AF65-F5344CB8AC3E}">
        <p14:creationId xmlns:p14="http://schemas.microsoft.com/office/powerpoint/2010/main" val="228022914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eading blank (DRA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77CBFDA-B1A5-4C2F-8CF8-6CF91A703208}"/>
              </a:ext>
            </a:extLst>
          </p:cNvPr>
          <p:cNvGraphicFramePr>
            <a:graphicFrameLocks noChangeAspect="1"/>
          </p:cNvGraphicFramePr>
          <p:nvPr>
            <p:custDataLst>
              <p:tags r:id="rId1"/>
            </p:custDataLst>
            <p:extLst>
              <p:ext uri="{D42A27DB-BD31-4B8C-83A1-F6EECF244321}">
                <p14:modId xmlns:p14="http://schemas.microsoft.com/office/powerpoint/2010/main" val="18916823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4" name="Object 3" hidden="1">
                        <a:extLst>
                          <a:ext uri="{FF2B5EF4-FFF2-40B4-BE49-F238E27FC236}">
                            <a16:creationId xmlns:a16="http://schemas.microsoft.com/office/drawing/2014/main" id="{777CBFDA-B1A5-4C2F-8CF8-6CF91A70320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5D7378D8-290D-4DFC-82EB-0B650BC21A3A}"/>
              </a:ext>
            </a:extLst>
          </p:cNvPr>
          <p:cNvSpPr>
            <a:spLocks noGrp="1"/>
          </p:cNvSpPr>
          <p:nvPr>
            <p:ph idx="1" hasCustomPrompt="1"/>
          </p:nvPr>
        </p:nvSpPr>
        <p:spPr>
          <a:xfrm>
            <a:off x="972543" y="453373"/>
            <a:ext cx="8515548" cy="823911"/>
          </a:xfrm>
          <a:prstGeom prst="rect">
            <a:avLst/>
          </a:prstGeom>
        </p:spPr>
        <p:txBody>
          <a:bodyPr lIns="0" tIns="0">
            <a:noAutofit/>
          </a:bodyPr>
          <a:lstStyle>
            <a:lvl1pPr marL="0" indent="0">
              <a:lnSpc>
                <a:spcPct val="100000"/>
              </a:lnSpc>
              <a:buFontTx/>
              <a:buNone/>
              <a:defRPr sz="2400"/>
            </a:lvl1pPr>
            <a:lvl2pPr marL="371475" indent="0">
              <a:buFontTx/>
              <a:buNone/>
              <a:defRPr/>
            </a:lvl2pPr>
            <a:lvl3pPr marL="742950" indent="0">
              <a:buFontTx/>
              <a:buNone/>
              <a:defRPr/>
            </a:lvl3pPr>
            <a:lvl4pPr marL="1114425" indent="0">
              <a:buFontTx/>
              <a:buNone/>
              <a:defRPr/>
            </a:lvl4pPr>
            <a:lvl5pPr marL="1485900" indent="0">
              <a:buFontTx/>
              <a:buNone/>
              <a:defRPr/>
            </a:lvl5pPr>
          </a:lstStyle>
          <a:p>
            <a:pPr lvl="0"/>
            <a:r>
              <a:rPr lang="en-AU"/>
              <a:t>Insert page heading (max two lines)</a:t>
            </a:r>
            <a:endParaRPr lang="en-US"/>
          </a:p>
        </p:txBody>
      </p:sp>
      <p:sp>
        <p:nvSpPr>
          <p:cNvPr id="6" name="Rectangle 5">
            <a:extLst>
              <a:ext uri="{FF2B5EF4-FFF2-40B4-BE49-F238E27FC236}">
                <a16:creationId xmlns:a16="http://schemas.microsoft.com/office/drawing/2014/main" id="{014D77C9-BF06-4A27-AE32-991DCE0858C4}"/>
              </a:ext>
            </a:extLst>
          </p:cNvPr>
          <p:cNvSpPr/>
          <p:nvPr/>
        </p:nvSpPr>
        <p:spPr>
          <a:xfrm>
            <a:off x="7913060" y="134353"/>
            <a:ext cx="1788254" cy="268707"/>
          </a:xfrm>
          <a:prstGeom prst="rect">
            <a:avLst/>
          </a:prstGeom>
          <a:solidFill>
            <a:srgbClr val="FFFFFF"/>
          </a:solidFill>
          <a:ln w="9525">
            <a:solidFill>
              <a:srgbClr val="000005"/>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rgbClr val="000005"/>
                </a:solidFill>
                <a:latin typeface="Roboto Medium" panose="020B0604020202020204" charset="0"/>
                <a:ea typeface="Roboto Medium" panose="020B0604020202020204" charset="0"/>
              </a:rPr>
              <a:t>DRAFT</a:t>
            </a:r>
            <a:endParaRPr lang="en-AU" sz="1200" err="1">
              <a:solidFill>
                <a:srgbClr val="000005"/>
              </a:solidFill>
              <a:latin typeface="Roboto Medium" panose="020B0604020202020204" charset="0"/>
              <a:ea typeface="Roboto Medium" panose="020B0604020202020204" charset="0"/>
            </a:endParaRPr>
          </a:p>
        </p:txBody>
      </p:sp>
      <p:sp>
        <p:nvSpPr>
          <p:cNvPr id="8" name="Content Placeholder 2">
            <a:extLst>
              <a:ext uri="{FF2B5EF4-FFF2-40B4-BE49-F238E27FC236}">
                <a16:creationId xmlns:a16="http://schemas.microsoft.com/office/drawing/2014/main" id="{628580A1-717B-414B-90EB-BBF8CA27DCFD}"/>
              </a:ext>
            </a:extLst>
          </p:cNvPr>
          <p:cNvSpPr>
            <a:spLocks noGrp="1"/>
          </p:cNvSpPr>
          <p:nvPr>
            <p:ph idx="10" hasCustomPrompt="1"/>
          </p:nvPr>
        </p:nvSpPr>
        <p:spPr>
          <a:xfrm>
            <a:off x="972543" y="1693088"/>
            <a:ext cx="8515548" cy="4328300"/>
          </a:xfrm>
          <a:prstGeom prst="rect">
            <a:avLst/>
          </a:prstGeom>
        </p:spPr>
        <p:txBody>
          <a:bodyPr lIns="0" tIns="0">
            <a:noAutofit/>
          </a:bodyPr>
          <a:lstStyle>
            <a:lvl1pPr marL="0" indent="0">
              <a:lnSpc>
                <a:spcPct val="100000"/>
              </a:lnSpc>
              <a:buSzPct val="100000"/>
              <a:buFontTx/>
              <a:buNone/>
              <a:defRPr sz="1400">
                <a:latin typeface="+mj-lt"/>
              </a:defRPr>
            </a:lvl1pPr>
            <a:lvl2pPr marL="371475" indent="0">
              <a:buFont typeface="+mj-lt"/>
              <a:buNone/>
              <a:defRPr sz="1200">
                <a:latin typeface="+mj-lt"/>
              </a:defRPr>
            </a:lvl2pPr>
            <a:lvl3pPr marL="742950" indent="0">
              <a:buFontTx/>
              <a:buNone/>
              <a:defRPr/>
            </a:lvl3pPr>
            <a:lvl4pPr marL="1114425" indent="0">
              <a:buFontTx/>
              <a:buNone/>
              <a:defRPr/>
            </a:lvl4pPr>
            <a:lvl5pPr marL="1485900" indent="0">
              <a:buFontTx/>
              <a:buNone/>
              <a:defRPr/>
            </a:lvl5pPr>
          </a:lstStyle>
          <a:p>
            <a:pPr lvl="0"/>
            <a:r>
              <a:rPr lang="en-AU"/>
              <a:t>Insert content here</a:t>
            </a:r>
          </a:p>
        </p:txBody>
      </p:sp>
    </p:spTree>
    <p:extLst>
      <p:ext uri="{BB962C8B-B14F-4D97-AF65-F5344CB8AC3E}">
        <p14:creationId xmlns:p14="http://schemas.microsoft.com/office/powerpoint/2010/main" val="2459255239"/>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Heading blank (ILLUSTRATIV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77CBFDA-B1A5-4C2F-8CF8-6CF91A703208}"/>
              </a:ext>
            </a:extLst>
          </p:cNvPr>
          <p:cNvGraphicFramePr>
            <a:graphicFrameLocks noChangeAspect="1"/>
          </p:cNvGraphicFramePr>
          <p:nvPr>
            <p:custDataLst>
              <p:tags r:id="rId1"/>
            </p:custDataLst>
            <p:extLst>
              <p:ext uri="{D42A27DB-BD31-4B8C-83A1-F6EECF244321}">
                <p14:modId xmlns:p14="http://schemas.microsoft.com/office/powerpoint/2010/main" val="12356058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4" name="Object 3" hidden="1">
                        <a:extLst>
                          <a:ext uri="{FF2B5EF4-FFF2-40B4-BE49-F238E27FC236}">
                            <a16:creationId xmlns:a16="http://schemas.microsoft.com/office/drawing/2014/main" id="{777CBFDA-B1A5-4C2F-8CF8-6CF91A70320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5D7378D8-290D-4DFC-82EB-0B650BC21A3A}"/>
              </a:ext>
            </a:extLst>
          </p:cNvPr>
          <p:cNvSpPr>
            <a:spLocks noGrp="1"/>
          </p:cNvSpPr>
          <p:nvPr>
            <p:ph idx="1" hasCustomPrompt="1"/>
          </p:nvPr>
        </p:nvSpPr>
        <p:spPr>
          <a:xfrm>
            <a:off x="972543" y="453373"/>
            <a:ext cx="8515548" cy="823911"/>
          </a:xfrm>
          <a:prstGeom prst="rect">
            <a:avLst/>
          </a:prstGeom>
        </p:spPr>
        <p:txBody>
          <a:bodyPr lIns="0" tIns="0">
            <a:noAutofit/>
          </a:bodyPr>
          <a:lstStyle>
            <a:lvl1pPr marL="0" indent="0">
              <a:lnSpc>
                <a:spcPct val="100000"/>
              </a:lnSpc>
              <a:buFontTx/>
              <a:buNone/>
              <a:defRPr sz="2400"/>
            </a:lvl1pPr>
            <a:lvl2pPr marL="371475" indent="0">
              <a:buFontTx/>
              <a:buNone/>
              <a:defRPr/>
            </a:lvl2pPr>
            <a:lvl3pPr marL="742950" indent="0">
              <a:buFontTx/>
              <a:buNone/>
              <a:defRPr/>
            </a:lvl3pPr>
            <a:lvl4pPr marL="1114425" indent="0">
              <a:buFontTx/>
              <a:buNone/>
              <a:defRPr/>
            </a:lvl4pPr>
            <a:lvl5pPr marL="1485900" indent="0">
              <a:buFontTx/>
              <a:buNone/>
              <a:defRPr/>
            </a:lvl5pPr>
          </a:lstStyle>
          <a:p>
            <a:pPr lvl="0"/>
            <a:r>
              <a:rPr lang="en-AU"/>
              <a:t>Insert page heading (max two lines)</a:t>
            </a:r>
            <a:endParaRPr lang="en-US"/>
          </a:p>
        </p:txBody>
      </p:sp>
      <p:sp>
        <p:nvSpPr>
          <p:cNvPr id="6" name="Rectangle 5">
            <a:extLst>
              <a:ext uri="{FF2B5EF4-FFF2-40B4-BE49-F238E27FC236}">
                <a16:creationId xmlns:a16="http://schemas.microsoft.com/office/drawing/2014/main" id="{117A30AD-5992-4E6B-B007-A6D974CD28DB}"/>
              </a:ext>
            </a:extLst>
          </p:cNvPr>
          <p:cNvSpPr/>
          <p:nvPr/>
        </p:nvSpPr>
        <p:spPr>
          <a:xfrm>
            <a:off x="7913060" y="134353"/>
            <a:ext cx="1788254" cy="268707"/>
          </a:xfrm>
          <a:prstGeom prst="rect">
            <a:avLst/>
          </a:prstGeom>
          <a:solidFill>
            <a:srgbClr val="FFFFFF"/>
          </a:solidFill>
          <a:ln w="9525">
            <a:solidFill>
              <a:srgbClr val="000005"/>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rgbClr val="000005"/>
                </a:solidFill>
                <a:latin typeface="Roboto Medium" panose="020B0604020202020204" charset="0"/>
                <a:ea typeface="Roboto Medium" panose="020B0604020202020204" charset="0"/>
              </a:rPr>
              <a:t>ILLUSTRATIVE</a:t>
            </a:r>
            <a:endParaRPr lang="en-AU" sz="1200" err="1">
              <a:solidFill>
                <a:srgbClr val="000005"/>
              </a:solidFill>
              <a:latin typeface="Roboto Medium" panose="020B0604020202020204" charset="0"/>
              <a:ea typeface="Roboto Medium" panose="020B0604020202020204" charset="0"/>
            </a:endParaRPr>
          </a:p>
        </p:txBody>
      </p:sp>
      <p:sp>
        <p:nvSpPr>
          <p:cNvPr id="8" name="Content Placeholder 2">
            <a:extLst>
              <a:ext uri="{FF2B5EF4-FFF2-40B4-BE49-F238E27FC236}">
                <a16:creationId xmlns:a16="http://schemas.microsoft.com/office/drawing/2014/main" id="{6D6ABF8F-3958-4599-8139-42D1207D1BC4}"/>
              </a:ext>
            </a:extLst>
          </p:cNvPr>
          <p:cNvSpPr>
            <a:spLocks noGrp="1"/>
          </p:cNvSpPr>
          <p:nvPr>
            <p:ph idx="10" hasCustomPrompt="1"/>
          </p:nvPr>
        </p:nvSpPr>
        <p:spPr>
          <a:xfrm>
            <a:off x="972543" y="1693088"/>
            <a:ext cx="8515548" cy="4328300"/>
          </a:xfrm>
          <a:prstGeom prst="rect">
            <a:avLst/>
          </a:prstGeom>
        </p:spPr>
        <p:txBody>
          <a:bodyPr lIns="0" tIns="0">
            <a:noAutofit/>
          </a:bodyPr>
          <a:lstStyle>
            <a:lvl1pPr marL="0" indent="0">
              <a:lnSpc>
                <a:spcPct val="100000"/>
              </a:lnSpc>
              <a:buSzPct val="100000"/>
              <a:buFontTx/>
              <a:buNone/>
              <a:defRPr sz="1400">
                <a:latin typeface="+mj-lt"/>
              </a:defRPr>
            </a:lvl1pPr>
            <a:lvl2pPr marL="371475" indent="0">
              <a:buFont typeface="+mj-lt"/>
              <a:buNone/>
              <a:defRPr sz="1200">
                <a:latin typeface="+mj-lt"/>
              </a:defRPr>
            </a:lvl2pPr>
            <a:lvl3pPr marL="742950" indent="0">
              <a:buFontTx/>
              <a:buNone/>
              <a:defRPr/>
            </a:lvl3pPr>
            <a:lvl4pPr marL="1114425" indent="0">
              <a:buFontTx/>
              <a:buNone/>
              <a:defRPr/>
            </a:lvl4pPr>
            <a:lvl5pPr marL="1485900" indent="0">
              <a:buFontTx/>
              <a:buNone/>
              <a:defRPr/>
            </a:lvl5pPr>
          </a:lstStyle>
          <a:p>
            <a:pPr lvl="0"/>
            <a:r>
              <a:rPr lang="en-AU"/>
              <a:t>Insert content here</a:t>
            </a:r>
          </a:p>
        </p:txBody>
      </p:sp>
    </p:spTree>
    <p:extLst>
      <p:ext uri="{BB962C8B-B14F-4D97-AF65-F5344CB8AC3E}">
        <p14:creationId xmlns:p14="http://schemas.microsoft.com/office/powerpoint/2010/main" val="1503850317"/>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hree panel pull quot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32E88BA-8E85-4B15-A455-AB2DA9197102}"/>
              </a:ext>
            </a:extLst>
          </p:cNvPr>
          <p:cNvSpPr/>
          <p:nvPr/>
        </p:nvSpPr>
        <p:spPr>
          <a:xfrm>
            <a:off x="5020073" y="2590800"/>
            <a:ext cx="4885927" cy="4267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63"/>
          </a:p>
        </p:txBody>
      </p:sp>
      <p:sp>
        <p:nvSpPr>
          <p:cNvPr id="11" name="Rectangle 10">
            <a:extLst>
              <a:ext uri="{FF2B5EF4-FFF2-40B4-BE49-F238E27FC236}">
                <a16:creationId xmlns:a16="http://schemas.microsoft.com/office/drawing/2014/main" id="{40E85104-8AA0-40EB-A22F-85FF98BF1807}"/>
              </a:ext>
            </a:extLst>
          </p:cNvPr>
          <p:cNvSpPr/>
          <p:nvPr/>
        </p:nvSpPr>
        <p:spPr>
          <a:xfrm>
            <a:off x="5020072" y="-2"/>
            <a:ext cx="4885926" cy="259080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63"/>
          </a:p>
        </p:txBody>
      </p:sp>
      <p:grpSp>
        <p:nvGrpSpPr>
          <p:cNvPr id="2" name="Group 1">
            <a:extLst>
              <a:ext uri="{FF2B5EF4-FFF2-40B4-BE49-F238E27FC236}">
                <a16:creationId xmlns:a16="http://schemas.microsoft.com/office/drawing/2014/main" id="{D967A3DE-1CA0-4071-B548-D1662A2EDEB4}"/>
              </a:ext>
            </a:extLst>
          </p:cNvPr>
          <p:cNvGrpSpPr/>
          <p:nvPr/>
        </p:nvGrpSpPr>
        <p:grpSpPr>
          <a:xfrm>
            <a:off x="5467464" y="503236"/>
            <a:ext cx="150821" cy="1236044"/>
            <a:chOff x="6729187" y="503236"/>
            <a:chExt cx="151038" cy="1236044"/>
          </a:xfrm>
        </p:grpSpPr>
        <p:sp>
          <p:nvSpPr>
            <p:cNvPr id="12" name="Oval 11">
              <a:extLst>
                <a:ext uri="{FF2B5EF4-FFF2-40B4-BE49-F238E27FC236}">
                  <a16:creationId xmlns:a16="http://schemas.microsoft.com/office/drawing/2014/main" id="{EC0D2F35-5992-4040-9617-B25E983C52B5}"/>
                </a:ext>
              </a:extLst>
            </p:cNvPr>
            <p:cNvSpPr/>
            <p:nvPr/>
          </p:nvSpPr>
          <p:spPr>
            <a:xfrm>
              <a:off x="6729187" y="503236"/>
              <a:ext cx="151038" cy="15103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AU" sz="1463"/>
            </a:p>
          </p:txBody>
        </p:sp>
        <p:sp>
          <p:nvSpPr>
            <p:cNvPr id="13" name="Oval 12">
              <a:extLst>
                <a:ext uri="{FF2B5EF4-FFF2-40B4-BE49-F238E27FC236}">
                  <a16:creationId xmlns:a16="http://schemas.microsoft.com/office/drawing/2014/main" id="{F914F83F-2C2B-44B0-847C-C599760558ED}"/>
                </a:ext>
              </a:extLst>
            </p:cNvPr>
            <p:cNvSpPr/>
            <p:nvPr/>
          </p:nvSpPr>
          <p:spPr>
            <a:xfrm>
              <a:off x="6760282" y="1127921"/>
              <a:ext cx="88847" cy="888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AU" sz="1463"/>
            </a:p>
          </p:txBody>
        </p:sp>
        <p:sp>
          <p:nvSpPr>
            <p:cNvPr id="14" name="Oval 13">
              <a:extLst>
                <a:ext uri="{FF2B5EF4-FFF2-40B4-BE49-F238E27FC236}">
                  <a16:creationId xmlns:a16="http://schemas.microsoft.com/office/drawing/2014/main" id="{1BBE91D1-69E1-4892-B924-E1CDD2C72E63}"/>
                </a:ext>
              </a:extLst>
            </p:cNvPr>
            <p:cNvSpPr/>
            <p:nvPr/>
          </p:nvSpPr>
          <p:spPr>
            <a:xfrm>
              <a:off x="6780273" y="1690415"/>
              <a:ext cx="48865" cy="488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AU" sz="1463"/>
            </a:p>
          </p:txBody>
        </p:sp>
      </p:grpSp>
      <p:sp>
        <p:nvSpPr>
          <p:cNvPr id="15" name="Content Placeholder 2">
            <a:extLst>
              <a:ext uri="{FF2B5EF4-FFF2-40B4-BE49-F238E27FC236}">
                <a16:creationId xmlns:a16="http://schemas.microsoft.com/office/drawing/2014/main" id="{91A1314E-A5C6-4332-BDCA-B1CBB15B5346}"/>
              </a:ext>
            </a:extLst>
          </p:cNvPr>
          <p:cNvSpPr>
            <a:spLocks noGrp="1"/>
          </p:cNvSpPr>
          <p:nvPr>
            <p:ph idx="1" hasCustomPrompt="1"/>
          </p:nvPr>
        </p:nvSpPr>
        <p:spPr>
          <a:xfrm>
            <a:off x="972544" y="453373"/>
            <a:ext cx="3467693" cy="823911"/>
          </a:xfrm>
          <a:prstGeom prst="rect">
            <a:avLst/>
          </a:prstGeom>
        </p:spPr>
        <p:txBody>
          <a:bodyPr lIns="0" tIns="0">
            <a:noAutofit/>
          </a:bodyPr>
          <a:lstStyle>
            <a:lvl1pPr marL="0" indent="0">
              <a:lnSpc>
                <a:spcPct val="100000"/>
              </a:lnSpc>
              <a:buFontTx/>
              <a:buNone/>
              <a:defRPr sz="2400"/>
            </a:lvl1pPr>
            <a:lvl2pPr marL="371475" indent="0">
              <a:buFontTx/>
              <a:buNone/>
              <a:defRPr/>
            </a:lvl2pPr>
            <a:lvl3pPr marL="742950" indent="0">
              <a:buFontTx/>
              <a:buNone/>
              <a:defRPr/>
            </a:lvl3pPr>
            <a:lvl4pPr marL="1114425" indent="0">
              <a:buFontTx/>
              <a:buNone/>
              <a:defRPr/>
            </a:lvl4pPr>
            <a:lvl5pPr marL="1485900" indent="0">
              <a:buFontTx/>
              <a:buNone/>
              <a:defRPr/>
            </a:lvl5pPr>
          </a:lstStyle>
          <a:p>
            <a:pPr lvl="0"/>
            <a:r>
              <a:rPr lang="en-AU"/>
              <a:t>Insert page heading </a:t>
            </a:r>
            <a:br>
              <a:rPr lang="en-AU"/>
            </a:br>
            <a:r>
              <a:rPr lang="en-AU"/>
              <a:t>(max four lines)</a:t>
            </a:r>
            <a:endParaRPr lang="en-US"/>
          </a:p>
        </p:txBody>
      </p:sp>
      <p:sp>
        <p:nvSpPr>
          <p:cNvPr id="16" name="Content Placeholder 2">
            <a:extLst>
              <a:ext uri="{FF2B5EF4-FFF2-40B4-BE49-F238E27FC236}">
                <a16:creationId xmlns:a16="http://schemas.microsoft.com/office/drawing/2014/main" id="{EE4109FA-A964-4770-8834-CC7F273AAD02}"/>
              </a:ext>
            </a:extLst>
          </p:cNvPr>
          <p:cNvSpPr>
            <a:spLocks noGrp="1"/>
          </p:cNvSpPr>
          <p:nvPr>
            <p:ph idx="10" hasCustomPrompt="1"/>
          </p:nvPr>
        </p:nvSpPr>
        <p:spPr>
          <a:xfrm>
            <a:off x="972543" y="1693088"/>
            <a:ext cx="3467693" cy="4328300"/>
          </a:xfrm>
          <a:prstGeom prst="rect">
            <a:avLst/>
          </a:prstGeom>
        </p:spPr>
        <p:txBody>
          <a:bodyPr lIns="0" tIns="0">
            <a:noAutofit/>
          </a:bodyPr>
          <a:lstStyle>
            <a:lvl1pPr marL="0" indent="0">
              <a:lnSpc>
                <a:spcPct val="100000"/>
              </a:lnSpc>
              <a:buSzPct val="100000"/>
              <a:buFontTx/>
              <a:buNone/>
              <a:defRPr sz="1400">
                <a:latin typeface="+mj-lt"/>
              </a:defRPr>
            </a:lvl1pPr>
            <a:lvl2pPr marL="371475" indent="0">
              <a:buFont typeface="+mj-lt"/>
              <a:buNone/>
              <a:defRPr sz="1200">
                <a:latin typeface="+mj-lt"/>
              </a:defRPr>
            </a:lvl2pPr>
            <a:lvl3pPr marL="742950" indent="0">
              <a:buFontTx/>
              <a:buNone/>
              <a:defRPr/>
            </a:lvl3pPr>
            <a:lvl4pPr marL="1114425" indent="0">
              <a:buFontTx/>
              <a:buNone/>
              <a:defRPr/>
            </a:lvl4pPr>
            <a:lvl5pPr marL="1485900" indent="0">
              <a:buFontTx/>
              <a:buNone/>
              <a:defRPr/>
            </a:lvl5pPr>
          </a:lstStyle>
          <a:p>
            <a:pPr lvl="0"/>
            <a:r>
              <a:rPr lang="en-AU"/>
              <a:t>Insert content here</a:t>
            </a:r>
          </a:p>
        </p:txBody>
      </p:sp>
    </p:spTree>
    <p:extLst>
      <p:ext uri="{BB962C8B-B14F-4D97-AF65-F5344CB8AC3E}">
        <p14:creationId xmlns:p14="http://schemas.microsoft.com/office/powerpoint/2010/main" val="41427915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CF7F6D-20E2-434E-87A1-DC59FD2D50E0}"/>
              </a:ext>
            </a:extLst>
          </p:cNvPr>
          <p:cNvGraphicFramePr>
            <a:graphicFrameLocks noChangeAspect="1"/>
          </p:cNvGraphicFramePr>
          <p:nvPr>
            <p:custDataLst>
              <p:tags r:id="rId19"/>
            </p:custDataLst>
            <p:extLst>
              <p:ext uri="{D42A27DB-BD31-4B8C-83A1-F6EECF244321}">
                <p14:modId xmlns:p14="http://schemas.microsoft.com/office/powerpoint/2010/main" val="11944411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0" imgW="216" imgH="216" progId="TCLayout.ActiveDocument.1">
                  <p:embed/>
                </p:oleObj>
              </mc:Choice>
              <mc:Fallback>
                <p:oleObj name="think-cell Slide" r:id="rId20" imgW="216" imgH="216" progId="TCLayout.ActiveDocument.1">
                  <p:embed/>
                  <p:pic>
                    <p:nvPicPr>
                      <p:cNvPr id="3" name="Object 2" hidden="1">
                        <a:extLst>
                          <a:ext uri="{FF2B5EF4-FFF2-40B4-BE49-F238E27FC236}">
                            <a16:creationId xmlns:a16="http://schemas.microsoft.com/office/drawing/2014/main" id="{04CF7F6D-20E2-434E-87A1-DC59FD2D50E0}"/>
                          </a:ext>
                        </a:extLst>
                      </p:cNvPr>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9F5829D3-6434-4C66-A382-6A22E3876A48}"/>
              </a:ext>
            </a:extLst>
          </p:cNvPr>
          <p:cNvSpPr/>
          <p:nvPr/>
        </p:nvSpPr>
        <p:spPr>
          <a:xfrm>
            <a:off x="1" y="0"/>
            <a:ext cx="60204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63"/>
          </a:p>
        </p:txBody>
      </p:sp>
      <p:sp>
        <p:nvSpPr>
          <p:cNvPr id="25" name="Slide Number Placeholder 6">
            <a:extLst>
              <a:ext uri="{FF2B5EF4-FFF2-40B4-BE49-F238E27FC236}">
                <a16:creationId xmlns:a16="http://schemas.microsoft.com/office/drawing/2014/main" id="{F507D885-8EE8-4C85-AA25-36CBAD888BF7}"/>
              </a:ext>
            </a:extLst>
          </p:cNvPr>
          <p:cNvSpPr txBox="1">
            <a:spLocks/>
          </p:cNvSpPr>
          <p:nvPr/>
        </p:nvSpPr>
        <p:spPr>
          <a:xfrm>
            <a:off x="72423" y="6239658"/>
            <a:ext cx="457200" cy="365125"/>
          </a:xfrm>
          <a:prstGeom prst="rect">
            <a:avLst/>
          </a:prstGeom>
        </p:spPr>
        <p:txBody>
          <a:bodyPr/>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DB7CFE17-F5A6-4E5D-B32C-113A30C24AE0}" type="slidenum">
              <a:rPr lang="en-AU" sz="1400" smtClean="0">
                <a:solidFill>
                  <a:srgbClr val="FFFFFF"/>
                </a:solidFill>
                <a:latin typeface="Roboto" pitchFamily="2" charset="0"/>
                <a:ea typeface="Roboto" pitchFamily="2" charset="0"/>
              </a:rPr>
              <a:pPr algn="ctr"/>
              <a:t>‹#›</a:t>
            </a:fld>
            <a:endParaRPr lang="en-AU" sz="1400">
              <a:solidFill>
                <a:srgbClr val="FFFFFF"/>
              </a:solidFill>
              <a:latin typeface="Roboto" pitchFamily="2" charset="0"/>
              <a:ea typeface="Roboto" pitchFamily="2" charset="0"/>
            </a:endParaRPr>
          </a:p>
        </p:txBody>
      </p:sp>
      <p:sp>
        <p:nvSpPr>
          <p:cNvPr id="26" name="Oval 25">
            <a:extLst>
              <a:ext uri="{FF2B5EF4-FFF2-40B4-BE49-F238E27FC236}">
                <a16:creationId xmlns:a16="http://schemas.microsoft.com/office/drawing/2014/main" id="{1736BB6B-69C9-4689-AE4E-D75F317E18BF}"/>
              </a:ext>
            </a:extLst>
          </p:cNvPr>
          <p:cNvSpPr/>
          <p:nvPr/>
        </p:nvSpPr>
        <p:spPr>
          <a:xfrm>
            <a:off x="-394521" y="473749"/>
            <a:ext cx="229577" cy="229577"/>
          </a:xfrm>
          <a:prstGeom prst="ellipse">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8" name="Oval 27">
            <a:extLst>
              <a:ext uri="{FF2B5EF4-FFF2-40B4-BE49-F238E27FC236}">
                <a16:creationId xmlns:a16="http://schemas.microsoft.com/office/drawing/2014/main" id="{4E2893CF-547E-47B7-ABA3-BBE2C3694E23}"/>
              </a:ext>
            </a:extLst>
          </p:cNvPr>
          <p:cNvSpPr/>
          <p:nvPr/>
        </p:nvSpPr>
        <p:spPr>
          <a:xfrm>
            <a:off x="-394521" y="783791"/>
            <a:ext cx="229577" cy="229577"/>
          </a:xfrm>
          <a:prstGeom prst="ellipse">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9" name="Oval 28">
            <a:extLst>
              <a:ext uri="{FF2B5EF4-FFF2-40B4-BE49-F238E27FC236}">
                <a16:creationId xmlns:a16="http://schemas.microsoft.com/office/drawing/2014/main" id="{72704775-16C9-4E10-BB24-C6F35FA96816}"/>
              </a:ext>
            </a:extLst>
          </p:cNvPr>
          <p:cNvSpPr/>
          <p:nvPr/>
        </p:nvSpPr>
        <p:spPr>
          <a:xfrm>
            <a:off x="-394521" y="1093833"/>
            <a:ext cx="229577" cy="229577"/>
          </a:xfrm>
          <a:prstGeom prst="ellipse">
            <a:avLst/>
          </a:prstGeom>
          <a:solidFill>
            <a:schemeClr val="bg2"/>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0" name="Oval 29">
            <a:extLst>
              <a:ext uri="{FF2B5EF4-FFF2-40B4-BE49-F238E27FC236}">
                <a16:creationId xmlns:a16="http://schemas.microsoft.com/office/drawing/2014/main" id="{10CCACCE-EB93-477B-8AA4-784D7AEAE5E8}"/>
              </a:ext>
            </a:extLst>
          </p:cNvPr>
          <p:cNvSpPr/>
          <p:nvPr/>
        </p:nvSpPr>
        <p:spPr>
          <a:xfrm>
            <a:off x="-394521" y="1403875"/>
            <a:ext cx="229577" cy="2295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1" name="Oval 30">
            <a:extLst>
              <a:ext uri="{FF2B5EF4-FFF2-40B4-BE49-F238E27FC236}">
                <a16:creationId xmlns:a16="http://schemas.microsoft.com/office/drawing/2014/main" id="{2F57C5B8-87BC-417C-BAC4-11DD7D8F0E0C}"/>
              </a:ext>
            </a:extLst>
          </p:cNvPr>
          <p:cNvSpPr/>
          <p:nvPr/>
        </p:nvSpPr>
        <p:spPr>
          <a:xfrm>
            <a:off x="-394521" y="2334001"/>
            <a:ext cx="229577" cy="229577"/>
          </a:xfrm>
          <a:prstGeom prst="ellipse">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2" name="Oval 31">
            <a:extLst>
              <a:ext uri="{FF2B5EF4-FFF2-40B4-BE49-F238E27FC236}">
                <a16:creationId xmlns:a16="http://schemas.microsoft.com/office/drawing/2014/main" id="{29E2A88B-27C4-45A6-B8F3-A5066E6CE471}"/>
              </a:ext>
            </a:extLst>
          </p:cNvPr>
          <p:cNvSpPr/>
          <p:nvPr/>
        </p:nvSpPr>
        <p:spPr>
          <a:xfrm>
            <a:off x="-394521" y="1713917"/>
            <a:ext cx="229577" cy="229577"/>
          </a:xfrm>
          <a:prstGeom prst="ellipse">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3" name="Oval 32">
            <a:extLst>
              <a:ext uri="{FF2B5EF4-FFF2-40B4-BE49-F238E27FC236}">
                <a16:creationId xmlns:a16="http://schemas.microsoft.com/office/drawing/2014/main" id="{BAA9550B-1A2B-4F61-B496-128748EE7723}"/>
              </a:ext>
            </a:extLst>
          </p:cNvPr>
          <p:cNvSpPr/>
          <p:nvPr/>
        </p:nvSpPr>
        <p:spPr>
          <a:xfrm>
            <a:off x="-394521" y="2023959"/>
            <a:ext cx="229577" cy="229577"/>
          </a:xfrm>
          <a:prstGeom prst="ellipse">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4" name="Oval 33">
            <a:extLst>
              <a:ext uri="{FF2B5EF4-FFF2-40B4-BE49-F238E27FC236}">
                <a16:creationId xmlns:a16="http://schemas.microsoft.com/office/drawing/2014/main" id="{01605773-E95C-40FC-82A0-B1A088BAEF3B}"/>
              </a:ext>
            </a:extLst>
          </p:cNvPr>
          <p:cNvSpPr/>
          <p:nvPr/>
        </p:nvSpPr>
        <p:spPr>
          <a:xfrm>
            <a:off x="-394521" y="2644043"/>
            <a:ext cx="229577" cy="229577"/>
          </a:xfrm>
          <a:prstGeom prst="ellipse">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5" name="Oval 34">
            <a:extLst>
              <a:ext uri="{FF2B5EF4-FFF2-40B4-BE49-F238E27FC236}">
                <a16:creationId xmlns:a16="http://schemas.microsoft.com/office/drawing/2014/main" id="{8387B6A4-0B78-4410-AB23-7CE935639ECF}"/>
              </a:ext>
            </a:extLst>
          </p:cNvPr>
          <p:cNvSpPr/>
          <p:nvPr/>
        </p:nvSpPr>
        <p:spPr>
          <a:xfrm>
            <a:off x="-394521" y="3802925"/>
            <a:ext cx="230400" cy="230400"/>
          </a:xfrm>
          <a:prstGeom prst="ellipse">
            <a:avLst/>
          </a:prstGeom>
          <a:solidFill>
            <a:srgbClr val="3F68AD"/>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6" name="Oval 35">
            <a:extLst>
              <a:ext uri="{FF2B5EF4-FFF2-40B4-BE49-F238E27FC236}">
                <a16:creationId xmlns:a16="http://schemas.microsoft.com/office/drawing/2014/main" id="{38652A49-25DF-4D36-84EC-DD843B451DB5}"/>
              </a:ext>
            </a:extLst>
          </p:cNvPr>
          <p:cNvSpPr/>
          <p:nvPr/>
        </p:nvSpPr>
        <p:spPr>
          <a:xfrm>
            <a:off x="-394521" y="4113790"/>
            <a:ext cx="230400" cy="230400"/>
          </a:xfrm>
          <a:prstGeom prst="ellipse">
            <a:avLst/>
          </a:prstGeom>
          <a:solidFill>
            <a:srgbClr val="44B5C4"/>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7" name="Oval 36">
            <a:extLst>
              <a:ext uri="{FF2B5EF4-FFF2-40B4-BE49-F238E27FC236}">
                <a16:creationId xmlns:a16="http://schemas.microsoft.com/office/drawing/2014/main" id="{17FC6456-DC51-4FDC-8E16-C2C309986B31}"/>
              </a:ext>
            </a:extLst>
          </p:cNvPr>
          <p:cNvSpPr/>
          <p:nvPr/>
        </p:nvSpPr>
        <p:spPr>
          <a:xfrm>
            <a:off x="-394521" y="4424655"/>
            <a:ext cx="230400" cy="230400"/>
          </a:xfrm>
          <a:prstGeom prst="ellipse">
            <a:avLst/>
          </a:prstGeom>
          <a:solidFill>
            <a:srgbClr val="44D6A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8" name="Oval 37">
            <a:extLst>
              <a:ext uri="{FF2B5EF4-FFF2-40B4-BE49-F238E27FC236}">
                <a16:creationId xmlns:a16="http://schemas.microsoft.com/office/drawing/2014/main" id="{BD1C5704-0279-4D5B-9549-F23150A6980B}"/>
              </a:ext>
            </a:extLst>
          </p:cNvPr>
          <p:cNvSpPr/>
          <p:nvPr/>
        </p:nvSpPr>
        <p:spPr>
          <a:xfrm>
            <a:off x="-394521" y="4735520"/>
            <a:ext cx="230400" cy="230400"/>
          </a:xfrm>
          <a:prstGeom prst="ellipse">
            <a:avLst/>
          </a:prstGeom>
          <a:solidFill>
            <a:srgbClr val="7FDD7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9" name="Oval 38">
            <a:extLst>
              <a:ext uri="{FF2B5EF4-FFF2-40B4-BE49-F238E27FC236}">
                <a16:creationId xmlns:a16="http://schemas.microsoft.com/office/drawing/2014/main" id="{6965EB7A-77B1-4629-9FF3-4CA2D4201A26}"/>
              </a:ext>
            </a:extLst>
          </p:cNvPr>
          <p:cNvSpPr/>
          <p:nvPr/>
        </p:nvSpPr>
        <p:spPr>
          <a:xfrm>
            <a:off x="-394521" y="5046385"/>
            <a:ext cx="230400" cy="230400"/>
          </a:xfrm>
          <a:prstGeom prst="ellipse">
            <a:avLst/>
          </a:prstGeom>
          <a:solidFill>
            <a:srgbClr val="EACC77"/>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0" name="Oval 39">
            <a:extLst>
              <a:ext uri="{FF2B5EF4-FFF2-40B4-BE49-F238E27FC236}">
                <a16:creationId xmlns:a16="http://schemas.microsoft.com/office/drawing/2014/main" id="{99839741-FB60-4EBE-ABBC-3F474A65DF2E}"/>
              </a:ext>
            </a:extLst>
          </p:cNvPr>
          <p:cNvSpPr/>
          <p:nvPr/>
        </p:nvSpPr>
        <p:spPr>
          <a:xfrm>
            <a:off x="-394521" y="5357250"/>
            <a:ext cx="230400" cy="230400"/>
          </a:xfrm>
          <a:prstGeom prst="ellipse">
            <a:avLst/>
          </a:prstGeom>
          <a:solidFill>
            <a:srgbClr val="EF9B47"/>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1" name="Oval 40">
            <a:extLst>
              <a:ext uri="{FF2B5EF4-FFF2-40B4-BE49-F238E27FC236}">
                <a16:creationId xmlns:a16="http://schemas.microsoft.com/office/drawing/2014/main" id="{2EA4A166-7046-4A21-86A3-4F69FFF25CC0}"/>
              </a:ext>
            </a:extLst>
          </p:cNvPr>
          <p:cNvSpPr/>
          <p:nvPr/>
        </p:nvSpPr>
        <p:spPr>
          <a:xfrm>
            <a:off x="-394521" y="5668115"/>
            <a:ext cx="230400" cy="230400"/>
          </a:xfrm>
          <a:prstGeom prst="ellipse">
            <a:avLst/>
          </a:prstGeom>
          <a:solidFill>
            <a:srgbClr val="EF6347"/>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2" name="Oval 41">
            <a:extLst>
              <a:ext uri="{FF2B5EF4-FFF2-40B4-BE49-F238E27FC236}">
                <a16:creationId xmlns:a16="http://schemas.microsoft.com/office/drawing/2014/main" id="{D80B7015-221E-4E19-A3A3-DACF88D1272C}"/>
              </a:ext>
            </a:extLst>
          </p:cNvPr>
          <p:cNvSpPr/>
          <p:nvPr/>
        </p:nvSpPr>
        <p:spPr>
          <a:xfrm>
            <a:off x="-394521" y="5978980"/>
            <a:ext cx="230400" cy="230400"/>
          </a:xfrm>
          <a:prstGeom prst="ellipse">
            <a:avLst/>
          </a:prstGeom>
          <a:solidFill>
            <a:srgbClr val="C96377"/>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3" name="Oval 42">
            <a:extLst>
              <a:ext uri="{FF2B5EF4-FFF2-40B4-BE49-F238E27FC236}">
                <a16:creationId xmlns:a16="http://schemas.microsoft.com/office/drawing/2014/main" id="{205DEFD5-F54A-4F32-9253-9C7BBD357DFF}"/>
              </a:ext>
            </a:extLst>
          </p:cNvPr>
          <p:cNvSpPr/>
          <p:nvPr/>
        </p:nvSpPr>
        <p:spPr>
          <a:xfrm>
            <a:off x="-394521" y="6289840"/>
            <a:ext cx="230400" cy="230400"/>
          </a:xfrm>
          <a:prstGeom prst="ellipse">
            <a:avLst/>
          </a:prstGeom>
          <a:solidFill>
            <a:srgbClr val="8E72B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4" name="Freeform 5">
            <a:extLst>
              <a:ext uri="{FF2B5EF4-FFF2-40B4-BE49-F238E27FC236}">
                <a16:creationId xmlns:a16="http://schemas.microsoft.com/office/drawing/2014/main" id="{8723F4DE-7668-478F-871D-B839BC74C021}"/>
              </a:ext>
            </a:extLst>
          </p:cNvPr>
          <p:cNvSpPr>
            <a:spLocks noEditPoints="1"/>
          </p:cNvSpPr>
          <p:nvPr/>
        </p:nvSpPr>
        <p:spPr bwMode="auto">
          <a:xfrm>
            <a:off x="981075" y="6197254"/>
            <a:ext cx="1422400" cy="360045"/>
          </a:xfrm>
          <a:custGeom>
            <a:avLst/>
            <a:gdLst>
              <a:gd name="T0" fmla="*/ 2610 w 7680"/>
              <a:gd name="T1" fmla="*/ 614 h 1944"/>
              <a:gd name="T2" fmla="*/ 2335 w 7680"/>
              <a:gd name="T3" fmla="*/ 1134 h 1944"/>
              <a:gd name="T4" fmla="*/ 2792 w 7680"/>
              <a:gd name="T5" fmla="*/ 1241 h 1944"/>
              <a:gd name="T6" fmla="*/ 2938 w 7680"/>
              <a:gd name="T7" fmla="*/ 627 h 1944"/>
              <a:gd name="T8" fmla="*/ 2445 w 7680"/>
              <a:gd name="T9" fmla="*/ 916 h 1944"/>
              <a:gd name="T10" fmla="*/ 2747 w 7680"/>
              <a:gd name="T11" fmla="*/ 791 h 1944"/>
              <a:gd name="T12" fmla="*/ 2704 w 7680"/>
              <a:gd name="T13" fmla="*/ 1165 h 1944"/>
              <a:gd name="T14" fmla="*/ 3472 w 7680"/>
              <a:gd name="T15" fmla="*/ 1126 h 1944"/>
              <a:gd name="T16" fmla="*/ 3196 w 7680"/>
              <a:gd name="T17" fmla="*/ 1047 h 1944"/>
              <a:gd name="T18" fmla="*/ 3074 w 7680"/>
              <a:gd name="T19" fmla="*/ 1145 h 1944"/>
              <a:gd name="T20" fmla="*/ 3502 w 7680"/>
              <a:gd name="T21" fmla="*/ 1238 h 1944"/>
              <a:gd name="T22" fmla="*/ 4441 w 7680"/>
              <a:gd name="T23" fmla="*/ 1176 h 1944"/>
              <a:gd name="T24" fmla="*/ 4244 w 7680"/>
              <a:gd name="T25" fmla="*/ 648 h 1944"/>
              <a:gd name="T26" fmla="*/ 3778 w 7680"/>
              <a:gd name="T27" fmla="*/ 818 h 1944"/>
              <a:gd name="T28" fmla="*/ 3974 w 7680"/>
              <a:gd name="T29" fmla="*/ 761 h 1944"/>
              <a:gd name="T30" fmla="*/ 4223 w 7680"/>
              <a:gd name="T31" fmla="*/ 854 h 1944"/>
              <a:gd name="T32" fmla="*/ 3773 w 7680"/>
              <a:gd name="T33" fmla="*/ 1018 h 1944"/>
              <a:gd name="T34" fmla="*/ 4019 w 7680"/>
              <a:gd name="T35" fmla="*/ 1311 h 1944"/>
              <a:gd name="T36" fmla="*/ 4388 w 7680"/>
              <a:gd name="T37" fmla="*/ 1298 h 1944"/>
              <a:gd name="T38" fmla="*/ 4187 w 7680"/>
              <a:gd name="T39" fmla="*/ 1119 h 1944"/>
              <a:gd name="T40" fmla="*/ 3898 w 7680"/>
              <a:gd name="T41" fmla="*/ 1114 h 1944"/>
              <a:gd name="T42" fmla="*/ 4223 w 7680"/>
              <a:gd name="T43" fmla="*/ 1012 h 1944"/>
              <a:gd name="T44" fmla="*/ 4553 w 7680"/>
              <a:gd name="T45" fmla="*/ 627 h 1944"/>
              <a:gd name="T46" fmla="*/ 4694 w 7680"/>
              <a:gd name="T47" fmla="*/ 871 h 1944"/>
              <a:gd name="T48" fmla="*/ 4974 w 7680"/>
              <a:gd name="T49" fmla="*/ 801 h 1944"/>
              <a:gd name="T50" fmla="*/ 5154 w 7680"/>
              <a:gd name="T51" fmla="*/ 928 h 1944"/>
              <a:gd name="T52" fmla="*/ 5470 w 7680"/>
              <a:gd name="T53" fmla="*/ 624 h 1944"/>
              <a:gd name="T54" fmla="*/ 5206 w 7680"/>
              <a:gd name="T55" fmla="*/ 627 h 1944"/>
              <a:gd name="T56" fmla="*/ 5335 w 7680"/>
              <a:gd name="T57" fmla="*/ 1196 h 1944"/>
              <a:gd name="T58" fmla="*/ 5618 w 7680"/>
              <a:gd name="T59" fmla="*/ 1171 h 1944"/>
              <a:gd name="T60" fmla="*/ 5618 w 7680"/>
              <a:gd name="T61" fmla="*/ 744 h 1944"/>
              <a:gd name="T62" fmla="*/ 6438 w 7680"/>
              <a:gd name="T63" fmla="*/ 1069 h 1944"/>
              <a:gd name="T64" fmla="*/ 6153 w 7680"/>
              <a:gd name="T65" fmla="*/ 1109 h 1944"/>
              <a:gd name="T66" fmla="*/ 5982 w 7680"/>
              <a:gd name="T67" fmla="*/ 1028 h 1944"/>
              <a:gd name="T68" fmla="*/ 6405 w 7680"/>
              <a:gd name="T69" fmla="*/ 1265 h 1944"/>
              <a:gd name="T70" fmla="*/ 6587 w 7680"/>
              <a:gd name="T71" fmla="*/ 629 h 1944"/>
              <a:gd name="T72" fmla="*/ 7159 w 7680"/>
              <a:gd name="T73" fmla="*/ 645 h 1944"/>
              <a:gd name="T74" fmla="*/ 6845 w 7680"/>
              <a:gd name="T75" fmla="*/ 631 h 1944"/>
              <a:gd name="T76" fmla="*/ 6859 w 7680"/>
              <a:gd name="T77" fmla="*/ 925 h 1944"/>
              <a:gd name="T78" fmla="*/ 7074 w 7680"/>
              <a:gd name="T79" fmla="*/ 767 h 1944"/>
              <a:gd name="T80" fmla="*/ 7271 w 7680"/>
              <a:gd name="T81" fmla="*/ 925 h 1944"/>
              <a:gd name="T82" fmla="*/ 7505 w 7680"/>
              <a:gd name="T83" fmla="*/ 789 h 1944"/>
              <a:gd name="T84" fmla="*/ 7680 w 7680"/>
              <a:gd name="T85" fmla="*/ 883 h 1944"/>
              <a:gd name="T86" fmla="*/ 5732 w 7680"/>
              <a:gd name="T87" fmla="*/ 631 h 1944"/>
              <a:gd name="T88" fmla="*/ 5804 w 7680"/>
              <a:gd name="T89" fmla="*/ 368 h 1944"/>
              <a:gd name="T90" fmla="*/ 5864 w 7680"/>
              <a:gd name="T91" fmla="*/ 514 h 1944"/>
              <a:gd name="T92" fmla="*/ 679 w 7680"/>
              <a:gd name="T93" fmla="*/ 43 h 1944"/>
              <a:gd name="T94" fmla="*/ 19 w 7680"/>
              <a:gd name="T95" fmla="*/ 772 h 1944"/>
              <a:gd name="T96" fmla="*/ 316 w 7680"/>
              <a:gd name="T97" fmla="*/ 1684 h 1944"/>
              <a:gd name="T98" fmla="*/ 1254 w 7680"/>
              <a:gd name="T99" fmla="*/ 1892 h 1944"/>
              <a:gd name="T100" fmla="*/ 1916 w 7680"/>
              <a:gd name="T101" fmla="*/ 1162 h 1944"/>
              <a:gd name="T102" fmla="*/ 1618 w 7680"/>
              <a:gd name="T103" fmla="*/ 251 h 1944"/>
              <a:gd name="T104" fmla="*/ 631 w 7680"/>
              <a:gd name="T105" fmla="*/ 1103 h 1944"/>
              <a:gd name="T106" fmla="*/ 1002 w 7680"/>
              <a:gd name="T107" fmla="*/ 607 h 1944"/>
              <a:gd name="T108" fmla="*/ 1270 w 7680"/>
              <a:gd name="T109" fmla="*/ 1167 h 1944"/>
              <a:gd name="T110" fmla="*/ 1438 w 7680"/>
              <a:gd name="T111" fmla="*/ 1619 h 1944"/>
              <a:gd name="T112" fmla="*/ 1278 w 7680"/>
              <a:gd name="T113" fmla="*/ 1351 h 1944"/>
              <a:gd name="T114" fmla="*/ 1588 w 7680"/>
              <a:gd name="T115" fmla="*/ 1337 h 1944"/>
              <a:gd name="T116" fmla="*/ 1457 w 7680"/>
              <a:gd name="T117" fmla="*/ 1619 h 1944"/>
              <a:gd name="T118" fmla="*/ 1703 w 7680"/>
              <a:gd name="T119" fmla="*/ 1836 h 1944"/>
              <a:gd name="T120" fmla="*/ 1890 w 7680"/>
              <a:gd name="T121" fmla="*/ 1923 h 1944"/>
              <a:gd name="T122" fmla="*/ 1880 w 7680"/>
              <a:gd name="T123" fmla="*/ 1717 h 1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80" h="1944">
                <a:moveTo>
                  <a:pt x="2938" y="627"/>
                </a:moveTo>
                <a:lnTo>
                  <a:pt x="2826" y="627"/>
                </a:lnTo>
                <a:lnTo>
                  <a:pt x="2826" y="627"/>
                </a:lnTo>
                <a:lnTo>
                  <a:pt x="2819" y="627"/>
                </a:lnTo>
                <a:lnTo>
                  <a:pt x="2818" y="629"/>
                </a:lnTo>
                <a:lnTo>
                  <a:pt x="2816" y="633"/>
                </a:lnTo>
                <a:lnTo>
                  <a:pt x="2804" y="681"/>
                </a:lnTo>
                <a:lnTo>
                  <a:pt x="2804" y="681"/>
                </a:lnTo>
                <a:lnTo>
                  <a:pt x="2801" y="684"/>
                </a:lnTo>
                <a:lnTo>
                  <a:pt x="2797" y="686"/>
                </a:lnTo>
                <a:lnTo>
                  <a:pt x="2794" y="686"/>
                </a:lnTo>
                <a:lnTo>
                  <a:pt x="2789" y="682"/>
                </a:lnTo>
                <a:lnTo>
                  <a:pt x="2789" y="682"/>
                </a:lnTo>
                <a:lnTo>
                  <a:pt x="2773" y="669"/>
                </a:lnTo>
                <a:lnTo>
                  <a:pt x="2756" y="657"/>
                </a:lnTo>
                <a:lnTo>
                  <a:pt x="2734" y="645"/>
                </a:lnTo>
                <a:lnTo>
                  <a:pt x="2711" y="634"/>
                </a:lnTo>
                <a:lnTo>
                  <a:pt x="2687" y="626"/>
                </a:lnTo>
                <a:lnTo>
                  <a:pt x="2661" y="619"/>
                </a:lnTo>
                <a:lnTo>
                  <a:pt x="2636" y="615"/>
                </a:lnTo>
                <a:lnTo>
                  <a:pt x="2610" y="614"/>
                </a:lnTo>
                <a:lnTo>
                  <a:pt x="2610" y="614"/>
                </a:lnTo>
                <a:lnTo>
                  <a:pt x="2575" y="615"/>
                </a:lnTo>
                <a:lnTo>
                  <a:pt x="2541" y="620"/>
                </a:lnTo>
                <a:lnTo>
                  <a:pt x="2510" y="627"/>
                </a:lnTo>
                <a:lnTo>
                  <a:pt x="2481" y="639"/>
                </a:lnTo>
                <a:lnTo>
                  <a:pt x="2453" y="653"/>
                </a:lnTo>
                <a:lnTo>
                  <a:pt x="2428" y="669"/>
                </a:lnTo>
                <a:lnTo>
                  <a:pt x="2404" y="688"/>
                </a:lnTo>
                <a:lnTo>
                  <a:pt x="2383" y="710"/>
                </a:lnTo>
                <a:lnTo>
                  <a:pt x="2364" y="734"/>
                </a:lnTo>
                <a:lnTo>
                  <a:pt x="2347" y="761"/>
                </a:lnTo>
                <a:lnTo>
                  <a:pt x="2333" y="789"/>
                </a:lnTo>
                <a:lnTo>
                  <a:pt x="2321" y="820"/>
                </a:lnTo>
                <a:lnTo>
                  <a:pt x="2311" y="853"/>
                </a:lnTo>
                <a:lnTo>
                  <a:pt x="2304" y="889"/>
                </a:lnTo>
                <a:lnTo>
                  <a:pt x="2301" y="925"/>
                </a:lnTo>
                <a:lnTo>
                  <a:pt x="2299" y="963"/>
                </a:lnTo>
                <a:lnTo>
                  <a:pt x="2299" y="963"/>
                </a:lnTo>
                <a:lnTo>
                  <a:pt x="2301" y="1000"/>
                </a:lnTo>
                <a:lnTo>
                  <a:pt x="2306" y="1036"/>
                </a:lnTo>
                <a:lnTo>
                  <a:pt x="2313" y="1071"/>
                </a:lnTo>
                <a:lnTo>
                  <a:pt x="2321" y="1103"/>
                </a:lnTo>
                <a:lnTo>
                  <a:pt x="2335" y="1134"/>
                </a:lnTo>
                <a:lnTo>
                  <a:pt x="2349" y="1164"/>
                </a:lnTo>
                <a:lnTo>
                  <a:pt x="2366" y="1189"/>
                </a:lnTo>
                <a:lnTo>
                  <a:pt x="2385" y="1215"/>
                </a:lnTo>
                <a:lnTo>
                  <a:pt x="2407" y="1236"/>
                </a:lnTo>
                <a:lnTo>
                  <a:pt x="2431" y="1255"/>
                </a:lnTo>
                <a:lnTo>
                  <a:pt x="2455" y="1272"/>
                </a:lnTo>
                <a:lnTo>
                  <a:pt x="2483" y="1286"/>
                </a:lnTo>
                <a:lnTo>
                  <a:pt x="2512" y="1296"/>
                </a:lnTo>
                <a:lnTo>
                  <a:pt x="2543" y="1305"/>
                </a:lnTo>
                <a:lnTo>
                  <a:pt x="2575" y="1310"/>
                </a:lnTo>
                <a:lnTo>
                  <a:pt x="2610" y="1311"/>
                </a:lnTo>
                <a:lnTo>
                  <a:pt x="2610" y="1311"/>
                </a:lnTo>
                <a:lnTo>
                  <a:pt x="2630" y="1310"/>
                </a:lnTo>
                <a:lnTo>
                  <a:pt x="2649" y="1308"/>
                </a:lnTo>
                <a:lnTo>
                  <a:pt x="2667" y="1305"/>
                </a:lnTo>
                <a:lnTo>
                  <a:pt x="2684" y="1301"/>
                </a:lnTo>
                <a:lnTo>
                  <a:pt x="2715" y="1291"/>
                </a:lnTo>
                <a:lnTo>
                  <a:pt x="2740" y="1279"/>
                </a:lnTo>
                <a:lnTo>
                  <a:pt x="2761" y="1267"/>
                </a:lnTo>
                <a:lnTo>
                  <a:pt x="2776" y="1255"/>
                </a:lnTo>
                <a:lnTo>
                  <a:pt x="2792" y="1241"/>
                </a:lnTo>
                <a:lnTo>
                  <a:pt x="2792" y="1241"/>
                </a:lnTo>
                <a:lnTo>
                  <a:pt x="2795" y="1239"/>
                </a:lnTo>
                <a:lnTo>
                  <a:pt x="2799" y="1239"/>
                </a:lnTo>
                <a:lnTo>
                  <a:pt x="2802" y="1243"/>
                </a:lnTo>
                <a:lnTo>
                  <a:pt x="2804" y="1244"/>
                </a:lnTo>
                <a:lnTo>
                  <a:pt x="2804" y="1554"/>
                </a:lnTo>
                <a:lnTo>
                  <a:pt x="2804" y="1554"/>
                </a:lnTo>
                <a:lnTo>
                  <a:pt x="2804" y="1557"/>
                </a:lnTo>
                <a:lnTo>
                  <a:pt x="2806" y="1559"/>
                </a:lnTo>
                <a:lnTo>
                  <a:pt x="2807" y="1561"/>
                </a:lnTo>
                <a:lnTo>
                  <a:pt x="2809" y="1561"/>
                </a:lnTo>
                <a:lnTo>
                  <a:pt x="2938" y="1561"/>
                </a:lnTo>
                <a:lnTo>
                  <a:pt x="2938" y="1561"/>
                </a:lnTo>
                <a:lnTo>
                  <a:pt x="2941" y="1561"/>
                </a:lnTo>
                <a:lnTo>
                  <a:pt x="2943" y="1559"/>
                </a:lnTo>
                <a:lnTo>
                  <a:pt x="2945" y="1557"/>
                </a:lnTo>
                <a:lnTo>
                  <a:pt x="2945" y="1554"/>
                </a:lnTo>
                <a:lnTo>
                  <a:pt x="2945" y="633"/>
                </a:lnTo>
                <a:lnTo>
                  <a:pt x="2945" y="633"/>
                </a:lnTo>
                <a:lnTo>
                  <a:pt x="2945" y="631"/>
                </a:lnTo>
                <a:lnTo>
                  <a:pt x="2943" y="629"/>
                </a:lnTo>
                <a:lnTo>
                  <a:pt x="2941" y="627"/>
                </a:lnTo>
                <a:lnTo>
                  <a:pt x="2938" y="627"/>
                </a:lnTo>
                <a:lnTo>
                  <a:pt x="2938" y="627"/>
                </a:lnTo>
                <a:close/>
                <a:moveTo>
                  <a:pt x="2629" y="1181"/>
                </a:moveTo>
                <a:lnTo>
                  <a:pt x="2629" y="1181"/>
                </a:lnTo>
                <a:lnTo>
                  <a:pt x="2608" y="1181"/>
                </a:lnTo>
                <a:lnTo>
                  <a:pt x="2587" y="1177"/>
                </a:lnTo>
                <a:lnTo>
                  <a:pt x="2567" y="1172"/>
                </a:lnTo>
                <a:lnTo>
                  <a:pt x="2550" y="1165"/>
                </a:lnTo>
                <a:lnTo>
                  <a:pt x="2533" y="1157"/>
                </a:lnTo>
                <a:lnTo>
                  <a:pt x="2517" y="1146"/>
                </a:lnTo>
                <a:lnTo>
                  <a:pt x="2503" y="1134"/>
                </a:lnTo>
                <a:lnTo>
                  <a:pt x="2491" y="1121"/>
                </a:lnTo>
                <a:lnTo>
                  <a:pt x="2479" y="1105"/>
                </a:lnTo>
                <a:lnTo>
                  <a:pt x="2471" y="1088"/>
                </a:lnTo>
                <a:lnTo>
                  <a:pt x="2462" y="1071"/>
                </a:lnTo>
                <a:lnTo>
                  <a:pt x="2455" y="1050"/>
                </a:lnTo>
                <a:lnTo>
                  <a:pt x="2450" y="1030"/>
                </a:lnTo>
                <a:lnTo>
                  <a:pt x="2445" y="1009"/>
                </a:lnTo>
                <a:lnTo>
                  <a:pt x="2443" y="987"/>
                </a:lnTo>
                <a:lnTo>
                  <a:pt x="2443" y="963"/>
                </a:lnTo>
                <a:lnTo>
                  <a:pt x="2443" y="963"/>
                </a:lnTo>
                <a:lnTo>
                  <a:pt x="2443" y="938"/>
                </a:lnTo>
                <a:lnTo>
                  <a:pt x="2445" y="916"/>
                </a:lnTo>
                <a:lnTo>
                  <a:pt x="2450" y="894"/>
                </a:lnTo>
                <a:lnTo>
                  <a:pt x="2455" y="873"/>
                </a:lnTo>
                <a:lnTo>
                  <a:pt x="2462" y="854"/>
                </a:lnTo>
                <a:lnTo>
                  <a:pt x="2471" y="835"/>
                </a:lnTo>
                <a:lnTo>
                  <a:pt x="2479" y="820"/>
                </a:lnTo>
                <a:lnTo>
                  <a:pt x="2491" y="804"/>
                </a:lnTo>
                <a:lnTo>
                  <a:pt x="2503" y="791"/>
                </a:lnTo>
                <a:lnTo>
                  <a:pt x="2517" y="777"/>
                </a:lnTo>
                <a:lnTo>
                  <a:pt x="2533" y="767"/>
                </a:lnTo>
                <a:lnTo>
                  <a:pt x="2550" y="758"/>
                </a:lnTo>
                <a:lnTo>
                  <a:pt x="2567" y="751"/>
                </a:lnTo>
                <a:lnTo>
                  <a:pt x="2587" y="746"/>
                </a:lnTo>
                <a:lnTo>
                  <a:pt x="2608" y="743"/>
                </a:lnTo>
                <a:lnTo>
                  <a:pt x="2629" y="743"/>
                </a:lnTo>
                <a:lnTo>
                  <a:pt x="2629" y="743"/>
                </a:lnTo>
                <a:lnTo>
                  <a:pt x="2649" y="743"/>
                </a:lnTo>
                <a:lnTo>
                  <a:pt x="2670" y="746"/>
                </a:lnTo>
                <a:lnTo>
                  <a:pt x="2687" y="751"/>
                </a:lnTo>
                <a:lnTo>
                  <a:pt x="2704" y="758"/>
                </a:lnTo>
                <a:lnTo>
                  <a:pt x="2720" y="767"/>
                </a:lnTo>
                <a:lnTo>
                  <a:pt x="2734" y="777"/>
                </a:lnTo>
                <a:lnTo>
                  <a:pt x="2747" y="791"/>
                </a:lnTo>
                <a:lnTo>
                  <a:pt x="2759" y="804"/>
                </a:lnTo>
                <a:lnTo>
                  <a:pt x="2770" y="820"/>
                </a:lnTo>
                <a:lnTo>
                  <a:pt x="2778" y="835"/>
                </a:lnTo>
                <a:lnTo>
                  <a:pt x="2785" y="854"/>
                </a:lnTo>
                <a:lnTo>
                  <a:pt x="2792" y="873"/>
                </a:lnTo>
                <a:lnTo>
                  <a:pt x="2797" y="894"/>
                </a:lnTo>
                <a:lnTo>
                  <a:pt x="2801" y="916"/>
                </a:lnTo>
                <a:lnTo>
                  <a:pt x="2802" y="938"/>
                </a:lnTo>
                <a:lnTo>
                  <a:pt x="2804" y="963"/>
                </a:lnTo>
                <a:lnTo>
                  <a:pt x="2804" y="963"/>
                </a:lnTo>
                <a:lnTo>
                  <a:pt x="2802" y="987"/>
                </a:lnTo>
                <a:lnTo>
                  <a:pt x="2801" y="1011"/>
                </a:lnTo>
                <a:lnTo>
                  <a:pt x="2797" y="1033"/>
                </a:lnTo>
                <a:lnTo>
                  <a:pt x="2792" y="1054"/>
                </a:lnTo>
                <a:lnTo>
                  <a:pt x="2785" y="1073"/>
                </a:lnTo>
                <a:lnTo>
                  <a:pt x="2778" y="1091"/>
                </a:lnTo>
                <a:lnTo>
                  <a:pt x="2770" y="1107"/>
                </a:lnTo>
                <a:lnTo>
                  <a:pt x="2759" y="1122"/>
                </a:lnTo>
                <a:lnTo>
                  <a:pt x="2747" y="1136"/>
                </a:lnTo>
                <a:lnTo>
                  <a:pt x="2734" y="1148"/>
                </a:lnTo>
                <a:lnTo>
                  <a:pt x="2720" y="1158"/>
                </a:lnTo>
                <a:lnTo>
                  <a:pt x="2704" y="1165"/>
                </a:lnTo>
                <a:lnTo>
                  <a:pt x="2687" y="1172"/>
                </a:lnTo>
                <a:lnTo>
                  <a:pt x="2670" y="1177"/>
                </a:lnTo>
                <a:lnTo>
                  <a:pt x="2649" y="1181"/>
                </a:lnTo>
                <a:lnTo>
                  <a:pt x="2629" y="1181"/>
                </a:lnTo>
                <a:lnTo>
                  <a:pt x="2629" y="1181"/>
                </a:lnTo>
                <a:close/>
                <a:moveTo>
                  <a:pt x="3648" y="627"/>
                </a:moveTo>
                <a:lnTo>
                  <a:pt x="3519" y="627"/>
                </a:lnTo>
                <a:lnTo>
                  <a:pt x="3519" y="627"/>
                </a:lnTo>
                <a:lnTo>
                  <a:pt x="3517" y="627"/>
                </a:lnTo>
                <a:lnTo>
                  <a:pt x="3515" y="629"/>
                </a:lnTo>
                <a:lnTo>
                  <a:pt x="3514" y="631"/>
                </a:lnTo>
                <a:lnTo>
                  <a:pt x="3514" y="633"/>
                </a:lnTo>
                <a:lnTo>
                  <a:pt x="3514" y="1004"/>
                </a:lnTo>
                <a:lnTo>
                  <a:pt x="3514" y="1004"/>
                </a:lnTo>
                <a:lnTo>
                  <a:pt x="3512" y="1021"/>
                </a:lnTo>
                <a:lnTo>
                  <a:pt x="3510" y="1038"/>
                </a:lnTo>
                <a:lnTo>
                  <a:pt x="3507" y="1054"/>
                </a:lnTo>
                <a:lnTo>
                  <a:pt x="3503" y="1069"/>
                </a:lnTo>
                <a:lnTo>
                  <a:pt x="3498" y="1085"/>
                </a:lnTo>
                <a:lnTo>
                  <a:pt x="3491" y="1100"/>
                </a:lnTo>
                <a:lnTo>
                  <a:pt x="3483" y="1114"/>
                </a:lnTo>
                <a:lnTo>
                  <a:pt x="3472" y="1126"/>
                </a:lnTo>
                <a:lnTo>
                  <a:pt x="3462" y="1138"/>
                </a:lnTo>
                <a:lnTo>
                  <a:pt x="3450" y="1150"/>
                </a:lnTo>
                <a:lnTo>
                  <a:pt x="3438" y="1158"/>
                </a:lnTo>
                <a:lnTo>
                  <a:pt x="3422" y="1167"/>
                </a:lnTo>
                <a:lnTo>
                  <a:pt x="3407" y="1172"/>
                </a:lnTo>
                <a:lnTo>
                  <a:pt x="3390" y="1177"/>
                </a:lnTo>
                <a:lnTo>
                  <a:pt x="3373" y="1181"/>
                </a:lnTo>
                <a:lnTo>
                  <a:pt x="3352" y="1181"/>
                </a:lnTo>
                <a:lnTo>
                  <a:pt x="3352" y="1181"/>
                </a:lnTo>
                <a:lnTo>
                  <a:pt x="3331" y="1181"/>
                </a:lnTo>
                <a:lnTo>
                  <a:pt x="3311" y="1177"/>
                </a:lnTo>
                <a:lnTo>
                  <a:pt x="3294" y="1172"/>
                </a:lnTo>
                <a:lnTo>
                  <a:pt x="3278" y="1165"/>
                </a:lnTo>
                <a:lnTo>
                  <a:pt x="3263" y="1157"/>
                </a:lnTo>
                <a:lnTo>
                  <a:pt x="3249" y="1146"/>
                </a:lnTo>
                <a:lnTo>
                  <a:pt x="3237" y="1136"/>
                </a:lnTo>
                <a:lnTo>
                  <a:pt x="3227" y="1122"/>
                </a:lnTo>
                <a:lnTo>
                  <a:pt x="3218" y="1109"/>
                </a:lnTo>
                <a:lnTo>
                  <a:pt x="3211" y="1095"/>
                </a:lnTo>
                <a:lnTo>
                  <a:pt x="3204" y="1079"/>
                </a:lnTo>
                <a:lnTo>
                  <a:pt x="3199" y="1064"/>
                </a:lnTo>
                <a:lnTo>
                  <a:pt x="3196" y="1047"/>
                </a:lnTo>
                <a:lnTo>
                  <a:pt x="3192" y="1031"/>
                </a:lnTo>
                <a:lnTo>
                  <a:pt x="3191" y="1014"/>
                </a:lnTo>
                <a:lnTo>
                  <a:pt x="3191" y="997"/>
                </a:lnTo>
                <a:lnTo>
                  <a:pt x="3191" y="633"/>
                </a:lnTo>
                <a:lnTo>
                  <a:pt x="3191" y="633"/>
                </a:lnTo>
                <a:lnTo>
                  <a:pt x="3191" y="631"/>
                </a:lnTo>
                <a:lnTo>
                  <a:pt x="3189" y="629"/>
                </a:lnTo>
                <a:lnTo>
                  <a:pt x="3187" y="627"/>
                </a:lnTo>
                <a:lnTo>
                  <a:pt x="3184" y="627"/>
                </a:lnTo>
                <a:lnTo>
                  <a:pt x="3055" y="627"/>
                </a:lnTo>
                <a:lnTo>
                  <a:pt x="3055" y="627"/>
                </a:lnTo>
                <a:lnTo>
                  <a:pt x="3051" y="627"/>
                </a:lnTo>
                <a:lnTo>
                  <a:pt x="3050" y="629"/>
                </a:lnTo>
                <a:lnTo>
                  <a:pt x="3048" y="631"/>
                </a:lnTo>
                <a:lnTo>
                  <a:pt x="3048" y="633"/>
                </a:lnTo>
                <a:lnTo>
                  <a:pt x="3048" y="997"/>
                </a:lnTo>
                <a:lnTo>
                  <a:pt x="3048" y="997"/>
                </a:lnTo>
                <a:lnTo>
                  <a:pt x="3048" y="1028"/>
                </a:lnTo>
                <a:lnTo>
                  <a:pt x="3051" y="1059"/>
                </a:lnTo>
                <a:lnTo>
                  <a:pt x="3057" y="1088"/>
                </a:lnTo>
                <a:lnTo>
                  <a:pt x="3063" y="1117"/>
                </a:lnTo>
                <a:lnTo>
                  <a:pt x="3074" y="1145"/>
                </a:lnTo>
                <a:lnTo>
                  <a:pt x="3084" y="1171"/>
                </a:lnTo>
                <a:lnTo>
                  <a:pt x="3099" y="1195"/>
                </a:lnTo>
                <a:lnTo>
                  <a:pt x="3115" y="1217"/>
                </a:lnTo>
                <a:lnTo>
                  <a:pt x="3134" y="1238"/>
                </a:lnTo>
                <a:lnTo>
                  <a:pt x="3154" y="1256"/>
                </a:lnTo>
                <a:lnTo>
                  <a:pt x="3177" y="1272"/>
                </a:lnTo>
                <a:lnTo>
                  <a:pt x="3204" y="1286"/>
                </a:lnTo>
                <a:lnTo>
                  <a:pt x="3232" y="1296"/>
                </a:lnTo>
                <a:lnTo>
                  <a:pt x="3263" y="1305"/>
                </a:lnTo>
                <a:lnTo>
                  <a:pt x="3297" y="1310"/>
                </a:lnTo>
                <a:lnTo>
                  <a:pt x="3333" y="1311"/>
                </a:lnTo>
                <a:lnTo>
                  <a:pt x="3333" y="1311"/>
                </a:lnTo>
                <a:lnTo>
                  <a:pt x="3359" y="1310"/>
                </a:lnTo>
                <a:lnTo>
                  <a:pt x="3385" y="1305"/>
                </a:lnTo>
                <a:lnTo>
                  <a:pt x="3409" y="1298"/>
                </a:lnTo>
                <a:lnTo>
                  <a:pt x="3433" y="1289"/>
                </a:lnTo>
                <a:lnTo>
                  <a:pt x="3453" y="1279"/>
                </a:lnTo>
                <a:lnTo>
                  <a:pt x="3471" y="1265"/>
                </a:lnTo>
                <a:lnTo>
                  <a:pt x="3486" y="1253"/>
                </a:lnTo>
                <a:lnTo>
                  <a:pt x="3498" y="1239"/>
                </a:lnTo>
                <a:lnTo>
                  <a:pt x="3498" y="1239"/>
                </a:lnTo>
                <a:lnTo>
                  <a:pt x="3502" y="1238"/>
                </a:lnTo>
                <a:lnTo>
                  <a:pt x="3507" y="1236"/>
                </a:lnTo>
                <a:lnTo>
                  <a:pt x="3510" y="1238"/>
                </a:lnTo>
                <a:lnTo>
                  <a:pt x="3514" y="1241"/>
                </a:lnTo>
                <a:lnTo>
                  <a:pt x="3526" y="1291"/>
                </a:lnTo>
                <a:lnTo>
                  <a:pt x="3526" y="1291"/>
                </a:lnTo>
                <a:lnTo>
                  <a:pt x="3529" y="1296"/>
                </a:lnTo>
                <a:lnTo>
                  <a:pt x="3532" y="1298"/>
                </a:lnTo>
                <a:lnTo>
                  <a:pt x="3536" y="1298"/>
                </a:lnTo>
                <a:lnTo>
                  <a:pt x="3648" y="1298"/>
                </a:lnTo>
                <a:lnTo>
                  <a:pt x="3648" y="1298"/>
                </a:lnTo>
                <a:lnTo>
                  <a:pt x="3651" y="1298"/>
                </a:lnTo>
                <a:lnTo>
                  <a:pt x="3653" y="1296"/>
                </a:lnTo>
                <a:lnTo>
                  <a:pt x="3654" y="1294"/>
                </a:lnTo>
                <a:lnTo>
                  <a:pt x="3654" y="1291"/>
                </a:lnTo>
                <a:lnTo>
                  <a:pt x="3654" y="633"/>
                </a:lnTo>
                <a:lnTo>
                  <a:pt x="3654" y="633"/>
                </a:lnTo>
                <a:lnTo>
                  <a:pt x="3654" y="631"/>
                </a:lnTo>
                <a:lnTo>
                  <a:pt x="3653" y="629"/>
                </a:lnTo>
                <a:lnTo>
                  <a:pt x="3651" y="627"/>
                </a:lnTo>
                <a:lnTo>
                  <a:pt x="3648" y="627"/>
                </a:lnTo>
                <a:lnTo>
                  <a:pt x="3648" y="627"/>
                </a:lnTo>
                <a:close/>
                <a:moveTo>
                  <a:pt x="4441" y="1176"/>
                </a:moveTo>
                <a:lnTo>
                  <a:pt x="4412" y="1176"/>
                </a:lnTo>
                <a:lnTo>
                  <a:pt x="4412" y="1176"/>
                </a:lnTo>
                <a:lnTo>
                  <a:pt x="4402" y="1176"/>
                </a:lnTo>
                <a:lnTo>
                  <a:pt x="4393" y="1172"/>
                </a:lnTo>
                <a:lnTo>
                  <a:pt x="4385" y="1169"/>
                </a:lnTo>
                <a:lnTo>
                  <a:pt x="4378" y="1164"/>
                </a:lnTo>
                <a:lnTo>
                  <a:pt x="4373" y="1157"/>
                </a:lnTo>
                <a:lnTo>
                  <a:pt x="4369" y="1148"/>
                </a:lnTo>
                <a:lnTo>
                  <a:pt x="4367" y="1141"/>
                </a:lnTo>
                <a:lnTo>
                  <a:pt x="4366" y="1133"/>
                </a:lnTo>
                <a:lnTo>
                  <a:pt x="4366" y="859"/>
                </a:lnTo>
                <a:lnTo>
                  <a:pt x="4366" y="859"/>
                </a:lnTo>
                <a:lnTo>
                  <a:pt x="4364" y="830"/>
                </a:lnTo>
                <a:lnTo>
                  <a:pt x="4361" y="803"/>
                </a:lnTo>
                <a:lnTo>
                  <a:pt x="4354" y="777"/>
                </a:lnTo>
                <a:lnTo>
                  <a:pt x="4345" y="753"/>
                </a:lnTo>
                <a:lnTo>
                  <a:pt x="4333" y="731"/>
                </a:lnTo>
                <a:lnTo>
                  <a:pt x="4319" y="710"/>
                </a:lnTo>
                <a:lnTo>
                  <a:pt x="4304" y="691"/>
                </a:lnTo>
                <a:lnTo>
                  <a:pt x="4287" y="676"/>
                </a:lnTo>
                <a:lnTo>
                  <a:pt x="4266" y="660"/>
                </a:lnTo>
                <a:lnTo>
                  <a:pt x="4244" y="648"/>
                </a:lnTo>
                <a:lnTo>
                  <a:pt x="4218" y="638"/>
                </a:lnTo>
                <a:lnTo>
                  <a:pt x="4192" y="629"/>
                </a:lnTo>
                <a:lnTo>
                  <a:pt x="4165" y="622"/>
                </a:lnTo>
                <a:lnTo>
                  <a:pt x="4134" y="617"/>
                </a:lnTo>
                <a:lnTo>
                  <a:pt x="4103" y="614"/>
                </a:lnTo>
                <a:lnTo>
                  <a:pt x="4069" y="614"/>
                </a:lnTo>
                <a:lnTo>
                  <a:pt x="4069" y="614"/>
                </a:lnTo>
                <a:lnTo>
                  <a:pt x="4039" y="614"/>
                </a:lnTo>
                <a:lnTo>
                  <a:pt x="4012" y="617"/>
                </a:lnTo>
                <a:lnTo>
                  <a:pt x="3984" y="622"/>
                </a:lnTo>
                <a:lnTo>
                  <a:pt x="3959" y="627"/>
                </a:lnTo>
                <a:lnTo>
                  <a:pt x="3933" y="636"/>
                </a:lnTo>
                <a:lnTo>
                  <a:pt x="3909" y="646"/>
                </a:lnTo>
                <a:lnTo>
                  <a:pt x="3886" y="658"/>
                </a:lnTo>
                <a:lnTo>
                  <a:pt x="3866" y="672"/>
                </a:lnTo>
                <a:lnTo>
                  <a:pt x="3845" y="688"/>
                </a:lnTo>
                <a:lnTo>
                  <a:pt x="3828" y="705"/>
                </a:lnTo>
                <a:lnTo>
                  <a:pt x="3814" y="724"/>
                </a:lnTo>
                <a:lnTo>
                  <a:pt x="3800" y="744"/>
                </a:lnTo>
                <a:lnTo>
                  <a:pt x="3790" y="767"/>
                </a:lnTo>
                <a:lnTo>
                  <a:pt x="3783" y="792"/>
                </a:lnTo>
                <a:lnTo>
                  <a:pt x="3778" y="818"/>
                </a:lnTo>
                <a:lnTo>
                  <a:pt x="3776" y="847"/>
                </a:lnTo>
                <a:lnTo>
                  <a:pt x="3776" y="847"/>
                </a:lnTo>
                <a:lnTo>
                  <a:pt x="3778" y="849"/>
                </a:lnTo>
                <a:lnTo>
                  <a:pt x="3778" y="851"/>
                </a:lnTo>
                <a:lnTo>
                  <a:pt x="3782" y="853"/>
                </a:lnTo>
                <a:lnTo>
                  <a:pt x="3783" y="854"/>
                </a:lnTo>
                <a:lnTo>
                  <a:pt x="3912" y="854"/>
                </a:lnTo>
                <a:lnTo>
                  <a:pt x="3912" y="854"/>
                </a:lnTo>
                <a:lnTo>
                  <a:pt x="3916" y="853"/>
                </a:lnTo>
                <a:lnTo>
                  <a:pt x="3917" y="851"/>
                </a:lnTo>
                <a:lnTo>
                  <a:pt x="3919" y="849"/>
                </a:lnTo>
                <a:lnTo>
                  <a:pt x="3919" y="847"/>
                </a:lnTo>
                <a:lnTo>
                  <a:pt x="3919" y="847"/>
                </a:lnTo>
                <a:lnTo>
                  <a:pt x="3921" y="827"/>
                </a:lnTo>
                <a:lnTo>
                  <a:pt x="3924" y="816"/>
                </a:lnTo>
                <a:lnTo>
                  <a:pt x="3928" y="808"/>
                </a:lnTo>
                <a:lnTo>
                  <a:pt x="3933" y="798"/>
                </a:lnTo>
                <a:lnTo>
                  <a:pt x="3938" y="789"/>
                </a:lnTo>
                <a:lnTo>
                  <a:pt x="3945" y="782"/>
                </a:lnTo>
                <a:lnTo>
                  <a:pt x="3953" y="773"/>
                </a:lnTo>
                <a:lnTo>
                  <a:pt x="3964" y="767"/>
                </a:lnTo>
                <a:lnTo>
                  <a:pt x="3974" y="761"/>
                </a:lnTo>
                <a:lnTo>
                  <a:pt x="3986" y="756"/>
                </a:lnTo>
                <a:lnTo>
                  <a:pt x="4000" y="751"/>
                </a:lnTo>
                <a:lnTo>
                  <a:pt x="4015" y="748"/>
                </a:lnTo>
                <a:lnTo>
                  <a:pt x="4031" y="746"/>
                </a:lnTo>
                <a:lnTo>
                  <a:pt x="4050" y="744"/>
                </a:lnTo>
                <a:lnTo>
                  <a:pt x="4069" y="743"/>
                </a:lnTo>
                <a:lnTo>
                  <a:pt x="4069" y="743"/>
                </a:lnTo>
                <a:lnTo>
                  <a:pt x="4094" y="744"/>
                </a:lnTo>
                <a:lnTo>
                  <a:pt x="4117" y="746"/>
                </a:lnTo>
                <a:lnTo>
                  <a:pt x="4136" y="749"/>
                </a:lnTo>
                <a:lnTo>
                  <a:pt x="4153" y="755"/>
                </a:lnTo>
                <a:lnTo>
                  <a:pt x="4168" y="760"/>
                </a:lnTo>
                <a:lnTo>
                  <a:pt x="4180" y="767"/>
                </a:lnTo>
                <a:lnTo>
                  <a:pt x="4190" y="775"/>
                </a:lnTo>
                <a:lnTo>
                  <a:pt x="4201" y="784"/>
                </a:lnTo>
                <a:lnTo>
                  <a:pt x="4208" y="792"/>
                </a:lnTo>
                <a:lnTo>
                  <a:pt x="4213" y="801"/>
                </a:lnTo>
                <a:lnTo>
                  <a:pt x="4216" y="810"/>
                </a:lnTo>
                <a:lnTo>
                  <a:pt x="4220" y="818"/>
                </a:lnTo>
                <a:lnTo>
                  <a:pt x="4223" y="837"/>
                </a:lnTo>
                <a:lnTo>
                  <a:pt x="4223" y="854"/>
                </a:lnTo>
                <a:lnTo>
                  <a:pt x="4223" y="854"/>
                </a:lnTo>
                <a:lnTo>
                  <a:pt x="4223" y="859"/>
                </a:lnTo>
                <a:lnTo>
                  <a:pt x="4221" y="866"/>
                </a:lnTo>
                <a:lnTo>
                  <a:pt x="4218" y="871"/>
                </a:lnTo>
                <a:lnTo>
                  <a:pt x="4213" y="878"/>
                </a:lnTo>
                <a:lnTo>
                  <a:pt x="4208" y="883"/>
                </a:lnTo>
                <a:lnTo>
                  <a:pt x="4199" y="887"/>
                </a:lnTo>
                <a:lnTo>
                  <a:pt x="4190" y="890"/>
                </a:lnTo>
                <a:lnTo>
                  <a:pt x="4182" y="890"/>
                </a:lnTo>
                <a:lnTo>
                  <a:pt x="4044" y="890"/>
                </a:lnTo>
                <a:lnTo>
                  <a:pt x="4044" y="890"/>
                </a:lnTo>
                <a:lnTo>
                  <a:pt x="4010" y="892"/>
                </a:lnTo>
                <a:lnTo>
                  <a:pt x="3977" y="896"/>
                </a:lnTo>
                <a:lnTo>
                  <a:pt x="3947" y="901"/>
                </a:lnTo>
                <a:lnTo>
                  <a:pt x="3917" y="908"/>
                </a:lnTo>
                <a:lnTo>
                  <a:pt x="3892" y="916"/>
                </a:lnTo>
                <a:lnTo>
                  <a:pt x="3867" y="926"/>
                </a:lnTo>
                <a:lnTo>
                  <a:pt x="3847" y="938"/>
                </a:lnTo>
                <a:lnTo>
                  <a:pt x="3826" y="952"/>
                </a:lnTo>
                <a:lnTo>
                  <a:pt x="3809" y="966"/>
                </a:lnTo>
                <a:lnTo>
                  <a:pt x="3795" y="981"/>
                </a:lnTo>
                <a:lnTo>
                  <a:pt x="3783" y="999"/>
                </a:lnTo>
                <a:lnTo>
                  <a:pt x="3773" y="1018"/>
                </a:lnTo>
                <a:lnTo>
                  <a:pt x="3764" y="1036"/>
                </a:lnTo>
                <a:lnTo>
                  <a:pt x="3759" y="1057"/>
                </a:lnTo>
                <a:lnTo>
                  <a:pt x="3756" y="1078"/>
                </a:lnTo>
                <a:lnTo>
                  <a:pt x="3754" y="1098"/>
                </a:lnTo>
                <a:lnTo>
                  <a:pt x="3754" y="1098"/>
                </a:lnTo>
                <a:lnTo>
                  <a:pt x="3756" y="1122"/>
                </a:lnTo>
                <a:lnTo>
                  <a:pt x="3758" y="1143"/>
                </a:lnTo>
                <a:lnTo>
                  <a:pt x="3763" y="1164"/>
                </a:lnTo>
                <a:lnTo>
                  <a:pt x="3770" y="1184"/>
                </a:lnTo>
                <a:lnTo>
                  <a:pt x="3780" y="1203"/>
                </a:lnTo>
                <a:lnTo>
                  <a:pt x="3790" y="1220"/>
                </a:lnTo>
                <a:lnTo>
                  <a:pt x="3804" y="1236"/>
                </a:lnTo>
                <a:lnTo>
                  <a:pt x="3819" y="1251"/>
                </a:lnTo>
                <a:lnTo>
                  <a:pt x="3837" y="1265"/>
                </a:lnTo>
                <a:lnTo>
                  <a:pt x="3855" y="1277"/>
                </a:lnTo>
                <a:lnTo>
                  <a:pt x="3878" y="1287"/>
                </a:lnTo>
                <a:lnTo>
                  <a:pt x="3902" y="1296"/>
                </a:lnTo>
                <a:lnTo>
                  <a:pt x="3928" y="1303"/>
                </a:lnTo>
                <a:lnTo>
                  <a:pt x="3955" y="1308"/>
                </a:lnTo>
                <a:lnTo>
                  <a:pt x="3986" y="1310"/>
                </a:lnTo>
                <a:lnTo>
                  <a:pt x="4019" y="1311"/>
                </a:lnTo>
                <a:lnTo>
                  <a:pt x="4019" y="1311"/>
                </a:lnTo>
                <a:lnTo>
                  <a:pt x="4058" y="1310"/>
                </a:lnTo>
                <a:lnTo>
                  <a:pt x="4096" y="1305"/>
                </a:lnTo>
                <a:lnTo>
                  <a:pt x="4130" y="1296"/>
                </a:lnTo>
                <a:lnTo>
                  <a:pt x="4160" y="1286"/>
                </a:lnTo>
                <a:lnTo>
                  <a:pt x="4185" y="1274"/>
                </a:lnTo>
                <a:lnTo>
                  <a:pt x="4208" y="1262"/>
                </a:lnTo>
                <a:lnTo>
                  <a:pt x="4227" y="1248"/>
                </a:lnTo>
                <a:lnTo>
                  <a:pt x="4240" y="1234"/>
                </a:lnTo>
                <a:lnTo>
                  <a:pt x="4240" y="1234"/>
                </a:lnTo>
                <a:lnTo>
                  <a:pt x="4244" y="1232"/>
                </a:lnTo>
                <a:lnTo>
                  <a:pt x="4247" y="1232"/>
                </a:lnTo>
                <a:lnTo>
                  <a:pt x="4251" y="1232"/>
                </a:lnTo>
                <a:lnTo>
                  <a:pt x="4252" y="1236"/>
                </a:lnTo>
                <a:lnTo>
                  <a:pt x="4252" y="1236"/>
                </a:lnTo>
                <a:lnTo>
                  <a:pt x="4263" y="1250"/>
                </a:lnTo>
                <a:lnTo>
                  <a:pt x="4273" y="1262"/>
                </a:lnTo>
                <a:lnTo>
                  <a:pt x="4287" y="1274"/>
                </a:lnTo>
                <a:lnTo>
                  <a:pt x="4302" y="1282"/>
                </a:lnTo>
                <a:lnTo>
                  <a:pt x="4319" y="1289"/>
                </a:lnTo>
                <a:lnTo>
                  <a:pt x="4340" y="1294"/>
                </a:lnTo>
                <a:lnTo>
                  <a:pt x="4362" y="1298"/>
                </a:lnTo>
                <a:lnTo>
                  <a:pt x="4388" y="1298"/>
                </a:lnTo>
                <a:lnTo>
                  <a:pt x="4441" y="1298"/>
                </a:lnTo>
                <a:lnTo>
                  <a:pt x="4441" y="1298"/>
                </a:lnTo>
                <a:lnTo>
                  <a:pt x="4445" y="1298"/>
                </a:lnTo>
                <a:lnTo>
                  <a:pt x="4446" y="1296"/>
                </a:lnTo>
                <a:lnTo>
                  <a:pt x="4448" y="1294"/>
                </a:lnTo>
                <a:lnTo>
                  <a:pt x="4448" y="1291"/>
                </a:lnTo>
                <a:lnTo>
                  <a:pt x="4448" y="1183"/>
                </a:lnTo>
                <a:lnTo>
                  <a:pt x="4448" y="1183"/>
                </a:lnTo>
                <a:lnTo>
                  <a:pt x="4448" y="1179"/>
                </a:lnTo>
                <a:lnTo>
                  <a:pt x="4446" y="1177"/>
                </a:lnTo>
                <a:lnTo>
                  <a:pt x="4445" y="1176"/>
                </a:lnTo>
                <a:lnTo>
                  <a:pt x="4441" y="1176"/>
                </a:lnTo>
                <a:lnTo>
                  <a:pt x="4441" y="1176"/>
                </a:lnTo>
                <a:close/>
                <a:moveTo>
                  <a:pt x="4223" y="1023"/>
                </a:moveTo>
                <a:lnTo>
                  <a:pt x="4223" y="1023"/>
                </a:lnTo>
                <a:lnTo>
                  <a:pt x="4223" y="1036"/>
                </a:lnTo>
                <a:lnTo>
                  <a:pt x="4221" y="1050"/>
                </a:lnTo>
                <a:lnTo>
                  <a:pt x="4218" y="1064"/>
                </a:lnTo>
                <a:lnTo>
                  <a:pt x="4213" y="1078"/>
                </a:lnTo>
                <a:lnTo>
                  <a:pt x="4206" y="1091"/>
                </a:lnTo>
                <a:lnTo>
                  <a:pt x="4197" y="1105"/>
                </a:lnTo>
                <a:lnTo>
                  <a:pt x="4187" y="1119"/>
                </a:lnTo>
                <a:lnTo>
                  <a:pt x="4177" y="1129"/>
                </a:lnTo>
                <a:lnTo>
                  <a:pt x="4163" y="1141"/>
                </a:lnTo>
                <a:lnTo>
                  <a:pt x="4148" y="1152"/>
                </a:lnTo>
                <a:lnTo>
                  <a:pt x="4132" y="1160"/>
                </a:lnTo>
                <a:lnTo>
                  <a:pt x="4113" y="1167"/>
                </a:lnTo>
                <a:lnTo>
                  <a:pt x="4093" y="1174"/>
                </a:lnTo>
                <a:lnTo>
                  <a:pt x="4070" y="1179"/>
                </a:lnTo>
                <a:lnTo>
                  <a:pt x="4044" y="1181"/>
                </a:lnTo>
                <a:lnTo>
                  <a:pt x="4019" y="1183"/>
                </a:lnTo>
                <a:lnTo>
                  <a:pt x="4019" y="1183"/>
                </a:lnTo>
                <a:lnTo>
                  <a:pt x="4002" y="1183"/>
                </a:lnTo>
                <a:lnTo>
                  <a:pt x="3986" y="1181"/>
                </a:lnTo>
                <a:lnTo>
                  <a:pt x="3972" y="1177"/>
                </a:lnTo>
                <a:lnTo>
                  <a:pt x="3960" y="1174"/>
                </a:lnTo>
                <a:lnTo>
                  <a:pt x="3948" y="1171"/>
                </a:lnTo>
                <a:lnTo>
                  <a:pt x="3940" y="1165"/>
                </a:lnTo>
                <a:lnTo>
                  <a:pt x="3929" y="1160"/>
                </a:lnTo>
                <a:lnTo>
                  <a:pt x="3922" y="1155"/>
                </a:lnTo>
                <a:lnTo>
                  <a:pt x="3916" y="1148"/>
                </a:lnTo>
                <a:lnTo>
                  <a:pt x="3910" y="1141"/>
                </a:lnTo>
                <a:lnTo>
                  <a:pt x="3902" y="1128"/>
                </a:lnTo>
                <a:lnTo>
                  <a:pt x="3898" y="1114"/>
                </a:lnTo>
                <a:lnTo>
                  <a:pt x="3897" y="1098"/>
                </a:lnTo>
                <a:lnTo>
                  <a:pt x="3897" y="1098"/>
                </a:lnTo>
                <a:lnTo>
                  <a:pt x="3897" y="1083"/>
                </a:lnTo>
                <a:lnTo>
                  <a:pt x="3902" y="1067"/>
                </a:lnTo>
                <a:lnTo>
                  <a:pt x="3905" y="1059"/>
                </a:lnTo>
                <a:lnTo>
                  <a:pt x="3910" y="1052"/>
                </a:lnTo>
                <a:lnTo>
                  <a:pt x="3916" y="1043"/>
                </a:lnTo>
                <a:lnTo>
                  <a:pt x="3924" y="1036"/>
                </a:lnTo>
                <a:lnTo>
                  <a:pt x="3933" y="1031"/>
                </a:lnTo>
                <a:lnTo>
                  <a:pt x="3943" y="1024"/>
                </a:lnTo>
                <a:lnTo>
                  <a:pt x="3955" y="1019"/>
                </a:lnTo>
                <a:lnTo>
                  <a:pt x="3971" y="1014"/>
                </a:lnTo>
                <a:lnTo>
                  <a:pt x="3986" y="1011"/>
                </a:lnTo>
                <a:lnTo>
                  <a:pt x="4005" y="1009"/>
                </a:lnTo>
                <a:lnTo>
                  <a:pt x="4026" y="1007"/>
                </a:lnTo>
                <a:lnTo>
                  <a:pt x="4050" y="1006"/>
                </a:lnTo>
                <a:lnTo>
                  <a:pt x="4218" y="1006"/>
                </a:lnTo>
                <a:lnTo>
                  <a:pt x="4218" y="1006"/>
                </a:lnTo>
                <a:lnTo>
                  <a:pt x="4220" y="1007"/>
                </a:lnTo>
                <a:lnTo>
                  <a:pt x="4221" y="1007"/>
                </a:lnTo>
                <a:lnTo>
                  <a:pt x="4223" y="1011"/>
                </a:lnTo>
                <a:lnTo>
                  <a:pt x="4223" y="1012"/>
                </a:lnTo>
                <a:lnTo>
                  <a:pt x="4223" y="1023"/>
                </a:lnTo>
                <a:close/>
                <a:moveTo>
                  <a:pt x="4869" y="614"/>
                </a:moveTo>
                <a:lnTo>
                  <a:pt x="4869" y="614"/>
                </a:lnTo>
                <a:lnTo>
                  <a:pt x="4842" y="615"/>
                </a:lnTo>
                <a:lnTo>
                  <a:pt x="4816" y="619"/>
                </a:lnTo>
                <a:lnTo>
                  <a:pt x="4792" y="626"/>
                </a:lnTo>
                <a:lnTo>
                  <a:pt x="4770" y="636"/>
                </a:lnTo>
                <a:lnTo>
                  <a:pt x="4747" y="646"/>
                </a:lnTo>
                <a:lnTo>
                  <a:pt x="4730" y="658"/>
                </a:lnTo>
                <a:lnTo>
                  <a:pt x="4715" y="672"/>
                </a:lnTo>
                <a:lnTo>
                  <a:pt x="4702" y="684"/>
                </a:lnTo>
                <a:lnTo>
                  <a:pt x="4702" y="684"/>
                </a:lnTo>
                <a:lnTo>
                  <a:pt x="4699" y="688"/>
                </a:lnTo>
                <a:lnTo>
                  <a:pt x="4696" y="689"/>
                </a:lnTo>
                <a:lnTo>
                  <a:pt x="4690" y="688"/>
                </a:lnTo>
                <a:lnTo>
                  <a:pt x="4689" y="684"/>
                </a:lnTo>
                <a:lnTo>
                  <a:pt x="4675" y="633"/>
                </a:lnTo>
                <a:lnTo>
                  <a:pt x="4675" y="633"/>
                </a:lnTo>
                <a:lnTo>
                  <a:pt x="4672" y="629"/>
                </a:lnTo>
                <a:lnTo>
                  <a:pt x="4670" y="627"/>
                </a:lnTo>
                <a:lnTo>
                  <a:pt x="4666" y="627"/>
                </a:lnTo>
                <a:lnTo>
                  <a:pt x="4553" y="627"/>
                </a:lnTo>
                <a:lnTo>
                  <a:pt x="4553" y="627"/>
                </a:lnTo>
                <a:lnTo>
                  <a:pt x="4550" y="627"/>
                </a:lnTo>
                <a:lnTo>
                  <a:pt x="4548" y="629"/>
                </a:lnTo>
                <a:lnTo>
                  <a:pt x="4546" y="631"/>
                </a:lnTo>
                <a:lnTo>
                  <a:pt x="4546" y="633"/>
                </a:lnTo>
                <a:lnTo>
                  <a:pt x="4546" y="1291"/>
                </a:lnTo>
                <a:lnTo>
                  <a:pt x="4546" y="1291"/>
                </a:lnTo>
                <a:lnTo>
                  <a:pt x="4546" y="1294"/>
                </a:lnTo>
                <a:lnTo>
                  <a:pt x="4548" y="1296"/>
                </a:lnTo>
                <a:lnTo>
                  <a:pt x="4550" y="1298"/>
                </a:lnTo>
                <a:lnTo>
                  <a:pt x="4553" y="1298"/>
                </a:lnTo>
                <a:lnTo>
                  <a:pt x="4682" y="1298"/>
                </a:lnTo>
                <a:lnTo>
                  <a:pt x="4682" y="1298"/>
                </a:lnTo>
                <a:lnTo>
                  <a:pt x="4684" y="1298"/>
                </a:lnTo>
                <a:lnTo>
                  <a:pt x="4687" y="1296"/>
                </a:lnTo>
                <a:lnTo>
                  <a:pt x="4687" y="1294"/>
                </a:lnTo>
                <a:lnTo>
                  <a:pt x="4689" y="1291"/>
                </a:lnTo>
                <a:lnTo>
                  <a:pt x="4689" y="921"/>
                </a:lnTo>
                <a:lnTo>
                  <a:pt x="4689" y="921"/>
                </a:lnTo>
                <a:lnTo>
                  <a:pt x="4689" y="904"/>
                </a:lnTo>
                <a:lnTo>
                  <a:pt x="4690" y="887"/>
                </a:lnTo>
                <a:lnTo>
                  <a:pt x="4694" y="871"/>
                </a:lnTo>
                <a:lnTo>
                  <a:pt x="4697" y="854"/>
                </a:lnTo>
                <a:lnTo>
                  <a:pt x="4704" y="839"/>
                </a:lnTo>
                <a:lnTo>
                  <a:pt x="4711" y="825"/>
                </a:lnTo>
                <a:lnTo>
                  <a:pt x="4718" y="811"/>
                </a:lnTo>
                <a:lnTo>
                  <a:pt x="4728" y="798"/>
                </a:lnTo>
                <a:lnTo>
                  <a:pt x="4739" y="786"/>
                </a:lnTo>
                <a:lnTo>
                  <a:pt x="4751" y="775"/>
                </a:lnTo>
                <a:lnTo>
                  <a:pt x="4764" y="767"/>
                </a:lnTo>
                <a:lnTo>
                  <a:pt x="4778" y="758"/>
                </a:lnTo>
                <a:lnTo>
                  <a:pt x="4794" y="751"/>
                </a:lnTo>
                <a:lnTo>
                  <a:pt x="4811" y="748"/>
                </a:lnTo>
                <a:lnTo>
                  <a:pt x="4830" y="744"/>
                </a:lnTo>
                <a:lnTo>
                  <a:pt x="4849" y="743"/>
                </a:lnTo>
                <a:lnTo>
                  <a:pt x="4849" y="743"/>
                </a:lnTo>
                <a:lnTo>
                  <a:pt x="4869" y="744"/>
                </a:lnTo>
                <a:lnTo>
                  <a:pt x="4890" y="748"/>
                </a:lnTo>
                <a:lnTo>
                  <a:pt x="4907" y="753"/>
                </a:lnTo>
                <a:lnTo>
                  <a:pt x="4924" y="760"/>
                </a:lnTo>
                <a:lnTo>
                  <a:pt x="4938" y="768"/>
                </a:lnTo>
                <a:lnTo>
                  <a:pt x="4952" y="779"/>
                </a:lnTo>
                <a:lnTo>
                  <a:pt x="4964" y="789"/>
                </a:lnTo>
                <a:lnTo>
                  <a:pt x="4974" y="801"/>
                </a:lnTo>
                <a:lnTo>
                  <a:pt x="4983" y="815"/>
                </a:lnTo>
                <a:lnTo>
                  <a:pt x="4991" y="830"/>
                </a:lnTo>
                <a:lnTo>
                  <a:pt x="4996" y="846"/>
                </a:lnTo>
                <a:lnTo>
                  <a:pt x="5001" y="861"/>
                </a:lnTo>
                <a:lnTo>
                  <a:pt x="5005" y="877"/>
                </a:lnTo>
                <a:lnTo>
                  <a:pt x="5008" y="894"/>
                </a:lnTo>
                <a:lnTo>
                  <a:pt x="5010" y="911"/>
                </a:lnTo>
                <a:lnTo>
                  <a:pt x="5010" y="928"/>
                </a:lnTo>
                <a:lnTo>
                  <a:pt x="5010" y="1291"/>
                </a:lnTo>
                <a:lnTo>
                  <a:pt x="5010" y="1291"/>
                </a:lnTo>
                <a:lnTo>
                  <a:pt x="5012" y="1294"/>
                </a:lnTo>
                <a:lnTo>
                  <a:pt x="5012" y="1296"/>
                </a:lnTo>
                <a:lnTo>
                  <a:pt x="5015" y="1298"/>
                </a:lnTo>
                <a:lnTo>
                  <a:pt x="5017" y="1298"/>
                </a:lnTo>
                <a:lnTo>
                  <a:pt x="5147" y="1298"/>
                </a:lnTo>
                <a:lnTo>
                  <a:pt x="5147" y="1298"/>
                </a:lnTo>
                <a:lnTo>
                  <a:pt x="5149" y="1298"/>
                </a:lnTo>
                <a:lnTo>
                  <a:pt x="5153" y="1296"/>
                </a:lnTo>
                <a:lnTo>
                  <a:pt x="5153" y="1294"/>
                </a:lnTo>
                <a:lnTo>
                  <a:pt x="5154" y="1291"/>
                </a:lnTo>
                <a:lnTo>
                  <a:pt x="5154" y="928"/>
                </a:lnTo>
                <a:lnTo>
                  <a:pt x="5154" y="928"/>
                </a:lnTo>
                <a:lnTo>
                  <a:pt x="5153" y="896"/>
                </a:lnTo>
                <a:lnTo>
                  <a:pt x="5149" y="866"/>
                </a:lnTo>
                <a:lnTo>
                  <a:pt x="5144" y="835"/>
                </a:lnTo>
                <a:lnTo>
                  <a:pt x="5137" y="806"/>
                </a:lnTo>
                <a:lnTo>
                  <a:pt x="5129" y="780"/>
                </a:lnTo>
                <a:lnTo>
                  <a:pt x="5117" y="753"/>
                </a:lnTo>
                <a:lnTo>
                  <a:pt x="5103" y="729"/>
                </a:lnTo>
                <a:lnTo>
                  <a:pt x="5086" y="706"/>
                </a:lnTo>
                <a:lnTo>
                  <a:pt x="5068" y="686"/>
                </a:lnTo>
                <a:lnTo>
                  <a:pt x="5046" y="669"/>
                </a:lnTo>
                <a:lnTo>
                  <a:pt x="5024" y="651"/>
                </a:lnTo>
                <a:lnTo>
                  <a:pt x="4998" y="638"/>
                </a:lnTo>
                <a:lnTo>
                  <a:pt x="4969" y="627"/>
                </a:lnTo>
                <a:lnTo>
                  <a:pt x="4938" y="620"/>
                </a:lnTo>
                <a:lnTo>
                  <a:pt x="4905" y="615"/>
                </a:lnTo>
                <a:lnTo>
                  <a:pt x="4869" y="614"/>
                </a:lnTo>
                <a:lnTo>
                  <a:pt x="4869" y="614"/>
                </a:lnTo>
                <a:close/>
                <a:moveTo>
                  <a:pt x="5615" y="627"/>
                </a:moveTo>
                <a:lnTo>
                  <a:pt x="5474" y="627"/>
                </a:lnTo>
                <a:lnTo>
                  <a:pt x="5474" y="627"/>
                </a:lnTo>
                <a:lnTo>
                  <a:pt x="5472" y="626"/>
                </a:lnTo>
                <a:lnTo>
                  <a:pt x="5470" y="624"/>
                </a:lnTo>
                <a:lnTo>
                  <a:pt x="5469" y="622"/>
                </a:lnTo>
                <a:lnTo>
                  <a:pt x="5469" y="620"/>
                </a:lnTo>
                <a:lnTo>
                  <a:pt x="5469" y="440"/>
                </a:lnTo>
                <a:lnTo>
                  <a:pt x="5469" y="440"/>
                </a:lnTo>
                <a:lnTo>
                  <a:pt x="5467" y="438"/>
                </a:lnTo>
                <a:lnTo>
                  <a:pt x="5467" y="437"/>
                </a:lnTo>
                <a:lnTo>
                  <a:pt x="5464" y="435"/>
                </a:lnTo>
                <a:lnTo>
                  <a:pt x="5462" y="435"/>
                </a:lnTo>
                <a:lnTo>
                  <a:pt x="5331" y="435"/>
                </a:lnTo>
                <a:lnTo>
                  <a:pt x="5331" y="435"/>
                </a:lnTo>
                <a:lnTo>
                  <a:pt x="5328" y="435"/>
                </a:lnTo>
                <a:lnTo>
                  <a:pt x="5326" y="437"/>
                </a:lnTo>
                <a:lnTo>
                  <a:pt x="5324" y="438"/>
                </a:lnTo>
                <a:lnTo>
                  <a:pt x="5324" y="440"/>
                </a:lnTo>
                <a:lnTo>
                  <a:pt x="5324" y="620"/>
                </a:lnTo>
                <a:lnTo>
                  <a:pt x="5324" y="620"/>
                </a:lnTo>
                <a:lnTo>
                  <a:pt x="5324" y="622"/>
                </a:lnTo>
                <a:lnTo>
                  <a:pt x="5323" y="624"/>
                </a:lnTo>
                <a:lnTo>
                  <a:pt x="5321" y="626"/>
                </a:lnTo>
                <a:lnTo>
                  <a:pt x="5318" y="627"/>
                </a:lnTo>
                <a:lnTo>
                  <a:pt x="5206" y="627"/>
                </a:lnTo>
                <a:lnTo>
                  <a:pt x="5206" y="627"/>
                </a:lnTo>
                <a:lnTo>
                  <a:pt x="5202" y="627"/>
                </a:lnTo>
                <a:lnTo>
                  <a:pt x="5201" y="629"/>
                </a:lnTo>
                <a:lnTo>
                  <a:pt x="5199" y="631"/>
                </a:lnTo>
                <a:lnTo>
                  <a:pt x="5199" y="633"/>
                </a:lnTo>
                <a:lnTo>
                  <a:pt x="5199" y="739"/>
                </a:lnTo>
                <a:lnTo>
                  <a:pt x="5199" y="739"/>
                </a:lnTo>
                <a:lnTo>
                  <a:pt x="5199" y="743"/>
                </a:lnTo>
                <a:lnTo>
                  <a:pt x="5201" y="744"/>
                </a:lnTo>
                <a:lnTo>
                  <a:pt x="5202" y="746"/>
                </a:lnTo>
                <a:lnTo>
                  <a:pt x="5206" y="746"/>
                </a:lnTo>
                <a:lnTo>
                  <a:pt x="5318" y="746"/>
                </a:lnTo>
                <a:lnTo>
                  <a:pt x="5318" y="746"/>
                </a:lnTo>
                <a:lnTo>
                  <a:pt x="5321" y="746"/>
                </a:lnTo>
                <a:lnTo>
                  <a:pt x="5323" y="748"/>
                </a:lnTo>
                <a:lnTo>
                  <a:pt x="5324" y="749"/>
                </a:lnTo>
                <a:lnTo>
                  <a:pt x="5324" y="753"/>
                </a:lnTo>
                <a:lnTo>
                  <a:pt x="5324" y="1110"/>
                </a:lnTo>
                <a:lnTo>
                  <a:pt x="5324" y="1110"/>
                </a:lnTo>
                <a:lnTo>
                  <a:pt x="5326" y="1134"/>
                </a:lnTo>
                <a:lnTo>
                  <a:pt x="5328" y="1157"/>
                </a:lnTo>
                <a:lnTo>
                  <a:pt x="5330" y="1177"/>
                </a:lnTo>
                <a:lnTo>
                  <a:pt x="5335" y="1196"/>
                </a:lnTo>
                <a:lnTo>
                  <a:pt x="5342" y="1213"/>
                </a:lnTo>
                <a:lnTo>
                  <a:pt x="5349" y="1229"/>
                </a:lnTo>
                <a:lnTo>
                  <a:pt x="5357" y="1243"/>
                </a:lnTo>
                <a:lnTo>
                  <a:pt x="5367" y="1255"/>
                </a:lnTo>
                <a:lnTo>
                  <a:pt x="5379" y="1265"/>
                </a:lnTo>
                <a:lnTo>
                  <a:pt x="5393" y="1274"/>
                </a:lnTo>
                <a:lnTo>
                  <a:pt x="5409" y="1281"/>
                </a:lnTo>
                <a:lnTo>
                  <a:pt x="5426" y="1287"/>
                </a:lnTo>
                <a:lnTo>
                  <a:pt x="5443" y="1293"/>
                </a:lnTo>
                <a:lnTo>
                  <a:pt x="5464" y="1296"/>
                </a:lnTo>
                <a:lnTo>
                  <a:pt x="5486" y="1298"/>
                </a:lnTo>
                <a:lnTo>
                  <a:pt x="5510" y="1298"/>
                </a:lnTo>
                <a:lnTo>
                  <a:pt x="5615" y="1298"/>
                </a:lnTo>
                <a:lnTo>
                  <a:pt x="5615" y="1298"/>
                </a:lnTo>
                <a:lnTo>
                  <a:pt x="5617" y="1298"/>
                </a:lnTo>
                <a:lnTo>
                  <a:pt x="5618" y="1296"/>
                </a:lnTo>
                <a:lnTo>
                  <a:pt x="5620" y="1294"/>
                </a:lnTo>
                <a:lnTo>
                  <a:pt x="5620" y="1291"/>
                </a:lnTo>
                <a:lnTo>
                  <a:pt x="5620" y="1176"/>
                </a:lnTo>
                <a:lnTo>
                  <a:pt x="5620" y="1176"/>
                </a:lnTo>
                <a:lnTo>
                  <a:pt x="5620" y="1174"/>
                </a:lnTo>
                <a:lnTo>
                  <a:pt x="5618" y="1171"/>
                </a:lnTo>
                <a:lnTo>
                  <a:pt x="5617" y="1171"/>
                </a:lnTo>
                <a:lnTo>
                  <a:pt x="5615" y="1169"/>
                </a:lnTo>
                <a:lnTo>
                  <a:pt x="5527" y="1169"/>
                </a:lnTo>
                <a:lnTo>
                  <a:pt x="5527" y="1169"/>
                </a:lnTo>
                <a:lnTo>
                  <a:pt x="5513" y="1169"/>
                </a:lnTo>
                <a:lnTo>
                  <a:pt x="5501" y="1165"/>
                </a:lnTo>
                <a:lnTo>
                  <a:pt x="5491" y="1160"/>
                </a:lnTo>
                <a:lnTo>
                  <a:pt x="5483" y="1155"/>
                </a:lnTo>
                <a:lnTo>
                  <a:pt x="5476" y="1146"/>
                </a:lnTo>
                <a:lnTo>
                  <a:pt x="5472" y="1138"/>
                </a:lnTo>
                <a:lnTo>
                  <a:pt x="5469" y="1128"/>
                </a:lnTo>
                <a:lnTo>
                  <a:pt x="5469" y="1116"/>
                </a:lnTo>
                <a:lnTo>
                  <a:pt x="5469" y="753"/>
                </a:lnTo>
                <a:lnTo>
                  <a:pt x="5469" y="753"/>
                </a:lnTo>
                <a:lnTo>
                  <a:pt x="5469" y="749"/>
                </a:lnTo>
                <a:lnTo>
                  <a:pt x="5470" y="748"/>
                </a:lnTo>
                <a:lnTo>
                  <a:pt x="5472" y="746"/>
                </a:lnTo>
                <a:lnTo>
                  <a:pt x="5474" y="746"/>
                </a:lnTo>
                <a:lnTo>
                  <a:pt x="5615" y="746"/>
                </a:lnTo>
                <a:lnTo>
                  <a:pt x="5615" y="746"/>
                </a:lnTo>
                <a:lnTo>
                  <a:pt x="5617" y="746"/>
                </a:lnTo>
                <a:lnTo>
                  <a:pt x="5618" y="744"/>
                </a:lnTo>
                <a:lnTo>
                  <a:pt x="5620" y="743"/>
                </a:lnTo>
                <a:lnTo>
                  <a:pt x="5620" y="739"/>
                </a:lnTo>
                <a:lnTo>
                  <a:pt x="5620" y="633"/>
                </a:lnTo>
                <a:lnTo>
                  <a:pt x="5620" y="633"/>
                </a:lnTo>
                <a:lnTo>
                  <a:pt x="5620" y="631"/>
                </a:lnTo>
                <a:lnTo>
                  <a:pt x="5618" y="629"/>
                </a:lnTo>
                <a:lnTo>
                  <a:pt x="5617" y="627"/>
                </a:lnTo>
                <a:lnTo>
                  <a:pt x="5615" y="627"/>
                </a:lnTo>
                <a:lnTo>
                  <a:pt x="5615" y="627"/>
                </a:lnTo>
                <a:close/>
                <a:moveTo>
                  <a:pt x="6582" y="627"/>
                </a:moveTo>
                <a:lnTo>
                  <a:pt x="6453" y="627"/>
                </a:lnTo>
                <a:lnTo>
                  <a:pt x="6453" y="627"/>
                </a:lnTo>
                <a:lnTo>
                  <a:pt x="6452" y="627"/>
                </a:lnTo>
                <a:lnTo>
                  <a:pt x="6448" y="629"/>
                </a:lnTo>
                <a:lnTo>
                  <a:pt x="6448" y="631"/>
                </a:lnTo>
                <a:lnTo>
                  <a:pt x="6446" y="633"/>
                </a:lnTo>
                <a:lnTo>
                  <a:pt x="6446" y="1004"/>
                </a:lnTo>
                <a:lnTo>
                  <a:pt x="6446" y="1004"/>
                </a:lnTo>
                <a:lnTo>
                  <a:pt x="6446" y="1021"/>
                </a:lnTo>
                <a:lnTo>
                  <a:pt x="6445" y="1038"/>
                </a:lnTo>
                <a:lnTo>
                  <a:pt x="6441" y="1054"/>
                </a:lnTo>
                <a:lnTo>
                  <a:pt x="6438" y="1069"/>
                </a:lnTo>
                <a:lnTo>
                  <a:pt x="6431" y="1085"/>
                </a:lnTo>
                <a:lnTo>
                  <a:pt x="6424" y="1100"/>
                </a:lnTo>
                <a:lnTo>
                  <a:pt x="6417" y="1114"/>
                </a:lnTo>
                <a:lnTo>
                  <a:pt x="6407" y="1126"/>
                </a:lnTo>
                <a:lnTo>
                  <a:pt x="6397" y="1138"/>
                </a:lnTo>
                <a:lnTo>
                  <a:pt x="6385" y="1150"/>
                </a:lnTo>
                <a:lnTo>
                  <a:pt x="6371" y="1158"/>
                </a:lnTo>
                <a:lnTo>
                  <a:pt x="6357" y="1167"/>
                </a:lnTo>
                <a:lnTo>
                  <a:pt x="6342" y="1172"/>
                </a:lnTo>
                <a:lnTo>
                  <a:pt x="6324" y="1177"/>
                </a:lnTo>
                <a:lnTo>
                  <a:pt x="6306" y="1181"/>
                </a:lnTo>
                <a:lnTo>
                  <a:pt x="6287" y="1181"/>
                </a:lnTo>
                <a:lnTo>
                  <a:pt x="6287" y="1181"/>
                </a:lnTo>
                <a:lnTo>
                  <a:pt x="6266" y="1181"/>
                </a:lnTo>
                <a:lnTo>
                  <a:pt x="6245" y="1177"/>
                </a:lnTo>
                <a:lnTo>
                  <a:pt x="6228" y="1172"/>
                </a:lnTo>
                <a:lnTo>
                  <a:pt x="6211" y="1165"/>
                </a:lnTo>
                <a:lnTo>
                  <a:pt x="6197" y="1157"/>
                </a:lnTo>
                <a:lnTo>
                  <a:pt x="6184" y="1146"/>
                </a:lnTo>
                <a:lnTo>
                  <a:pt x="6171" y="1136"/>
                </a:lnTo>
                <a:lnTo>
                  <a:pt x="6161" y="1122"/>
                </a:lnTo>
                <a:lnTo>
                  <a:pt x="6153" y="1109"/>
                </a:lnTo>
                <a:lnTo>
                  <a:pt x="6144" y="1095"/>
                </a:lnTo>
                <a:lnTo>
                  <a:pt x="6139" y="1079"/>
                </a:lnTo>
                <a:lnTo>
                  <a:pt x="6134" y="1064"/>
                </a:lnTo>
                <a:lnTo>
                  <a:pt x="6130" y="1047"/>
                </a:lnTo>
                <a:lnTo>
                  <a:pt x="6127" y="1031"/>
                </a:lnTo>
                <a:lnTo>
                  <a:pt x="6125" y="1014"/>
                </a:lnTo>
                <a:lnTo>
                  <a:pt x="6125" y="997"/>
                </a:lnTo>
                <a:lnTo>
                  <a:pt x="6125" y="633"/>
                </a:lnTo>
                <a:lnTo>
                  <a:pt x="6125" y="633"/>
                </a:lnTo>
                <a:lnTo>
                  <a:pt x="6123" y="631"/>
                </a:lnTo>
                <a:lnTo>
                  <a:pt x="6123" y="629"/>
                </a:lnTo>
                <a:lnTo>
                  <a:pt x="6120" y="627"/>
                </a:lnTo>
                <a:lnTo>
                  <a:pt x="6118" y="627"/>
                </a:lnTo>
                <a:lnTo>
                  <a:pt x="5988" y="627"/>
                </a:lnTo>
                <a:lnTo>
                  <a:pt x="5988" y="627"/>
                </a:lnTo>
                <a:lnTo>
                  <a:pt x="5986" y="627"/>
                </a:lnTo>
                <a:lnTo>
                  <a:pt x="5982" y="629"/>
                </a:lnTo>
                <a:lnTo>
                  <a:pt x="5982" y="631"/>
                </a:lnTo>
                <a:lnTo>
                  <a:pt x="5981" y="633"/>
                </a:lnTo>
                <a:lnTo>
                  <a:pt x="5981" y="997"/>
                </a:lnTo>
                <a:lnTo>
                  <a:pt x="5981" y="997"/>
                </a:lnTo>
                <a:lnTo>
                  <a:pt x="5982" y="1028"/>
                </a:lnTo>
                <a:lnTo>
                  <a:pt x="5986" y="1059"/>
                </a:lnTo>
                <a:lnTo>
                  <a:pt x="5991" y="1088"/>
                </a:lnTo>
                <a:lnTo>
                  <a:pt x="5998" y="1117"/>
                </a:lnTo>
                <a:lnTo>
                  <a:pt x="6007" y="1145"/>
                </a:lnTo>
                <a:lnTo>
                  <a:pt x="6019" y="1171"/>
                </a:lnTo>
                <a:lnTo>
                  <a:pt x="6032" y="1195"/>
                </a:lnTo>
                <a:lnTo>
                  <a:pt x="6050" y="1217"/>
                </a:lnTo>
                <a:lnTo>
                  <a:pt x="6067" y="1238"/>
                </a:lnTo>
                <a:lnTo>
                  <a:pt x="6089" y="1256"/>
                </a:lnTo>
                <a:lnTo>
                  <a:pt x="6111" y="1272"/>
                </a:lnTo>
                <a:lnTo>
                  <a:pt x="6137" y="1286"/>
                </a:lnTo>
                <a:lnTo>
                  <a:pt x="6166" y="1296"/>
                </a:lnTo>
                <a:lnTo>
                  <a:pt x="6197" y="1305"/>
                </a:lnTo>
                <a:lnTo>
                  <a:pt x="6230" y="1310"/>
                </a:lnTo>
                <a:lnTo>
                  <a:pt x="6266" y="1311"/>
                </a:lnTo>
                <a:lnTo>
                  <a:pt x="6266" y="1311"/>
                </a:lnTo>
                <a:lnTo>
                  <a:pt x="6293" y="1310"/>
                </a:lnTo>
                <a:lnTo>
                  <a:pt x="6319" y="1305"/>
                </a:lnTo>
                <a:lnTo>
                  <a:pt x="6343" y="1298"/>
                </a:lnTo>
                <a:lnTo>
                  <a:pt x="6366" y="1289"/>
                </a:lnTo>
                <a:lnTo>
                  <a:pt x="6388" y="1279"/>
                </a:lnTo>
                <a:lnTo>
                  <a:pt x="6405" y="1265"/>
                </a:lnTo>
                <a:lnTo>
                  <a:pt x="6421" y="1253"/>
                </a:lnTo>
                <a:lnTo>
                  <a:pt x="6433" y="1239"/>
                </a:lnTo>
                <a:lnTo>
                  <a:pt x="6433" y="1239"/>
                </a:lnTo>
                <a:lnTo>
                  <a:pt x="6436" y="1238"/>
                </a:lnTo>
                <a:lnTo>
                  <a:pt x="6440" y="1236"/>
                </a:lnTo>
                <a:lnTo>
                  <a:pt x="6445" y="1238"/>
                </a:lnTo>
                <a:lnTo>
                  <a:pt x="6446" y="1241"/>
                </a:lnTo>
                <a:lnTo>
                  <a:pt x="6460" y="1291"/>
                </a:lnTo>
                <a:lnTo>
                  <a:pt x="6460" y="1291"/>
                </a:lnTo>
                <a:lnTo>
                  <a:pt x="6464" y="1296"/>
                </a:lnTo>
                <a:lnTo>
                  <a:pt x="6465" y="1298"/>
                </a:lnTo>
                <a:lnTo>
                  <a:pt x="6469" y="1298"/>
                </a:lnTo>
                <a:lnTo>
                  <a:pt x="6582" y="1298"/>
                </a:lnTo>
                <a:lnTo>
                  <a:pt x="6582" y="1298"/>
                </a:lnTo>
                <a:lnTo>
                  <a:pt x="6586" y="1298"/>
                </a:lnTo>
                <a:lnTo>
                  <a:pt x="6587" y="1296"/>
                </a:lnTo>
                <a:lnTo>
                  <a:pt x="6589" y="1294"/>
                </a:lnTo>
                <a:lnTo>
                  <a:pt x="6589" y="1291"/>
                </a:lnTo>
                <a:lnTo>
                  <a:pt x="6589" y="633"/>
                </a:lnTo>
                <a:lnTo>
                  <a:pt x="6589" y="633"/>
                </a:lnTo>
                <a:lnTo>
                  <a:pt x="6589" y="631"/>
                </a:lnTo>
                <a:lnTo>
                  <a:pt x="6587" y="629"/>
                </a:lnTo>
                <a:lnTo>
                  <a:pt x="6586" y="627"/>
                </a:lnTo>
                <a:lnTo>
                  <a:pt x="6582" y="627"/>
                </a:lnTo>
                <a:lnTo>
                  <a:pt x="6582" y="627"/>
                </a:lnTo>
                <a:close/>
                <a:moveTo>
                  <a:pt x="7417" y="614"/>
                </a:moveTo>
                <a:lnTo>
                  <a:pt x="7417" y="614"/>
                </a:lnTo>
                <a:lnTo>
                  <a:pt x="7390" y="615"/>
                </a:lnTo>
                <a:lnTo>
                  <a:pt x="7362" y="619"/>
                </a:lnTo>
                <a:lnTo>
                  <a:pt x="7336" y="626"/>
                </a:lnTo>
                <a:lnTo>
                  <a:pt x="7312" y="636"/>
                </a:lnTo>
                <a:lnTo>
                  <a:pt x="7288" y="646"/>
                </a:lnTo>
                <a:lnTo>
                  <a:pt x="7266" y="660"/>
                </a:lnTo>
                <a:lnTo>
                  <a:pt x="7247" y="676"/>
                </a:lnTo>
                <a:lnTo>
                  <a:pt x="7228" y="693"/>
                </a:lnTo>
                <a:lnTo>
                  <a:pt x="7228" y="693"/>
                </a:lnTo>
                <a:lnTo>
                  <a:pt x="7225" y="696"/>
                </a:lnTo>
                <a:lnTo>
                  <a:pt x="7221" y="696"/>
                </a:lnTo>
                <a:lnTo>
                  <a:pt x="7218" y="694"/>
                </a:lnTo>
                <a:lnTo>
                  <a:pt x="7214" y="693"/>
                </a:lnTo>
                <a:lnTo>
                  <a:pt x="7214" y="693"/>
                </a:lnTo>
                <a:lnTo>
                  <a:pt x="7197" y="674"/>
                </a:lnTo>
                <a:lnTo>
                  <a:pt x="7178" y="658"/>
                </a:lnTo>
                <a:lnTo>
                  <a:pt x="7159" y="645"/>
                </a:lnTo>
                <a:lnTo>
                  <a:pt x="7139" y="633"/>
                </a:lnTo>
                <a:lnTo>
                  <a:pt x="7115" y="624"/>
                </a:lnTo>
                <a:lnTo>
                  <a:pt x="7091" y="619"/>
                </a:lnTo>
                <a:lnTo>
                  <a:pt x="7063" y="615"/>
                </a:lnTo>
                <a:lnTo>
                  <a:pt x="7034" y="614"/>
                </a:lnTo>
                <a:lnTo>
                  <a:pt x="7034" y="614"/>
                </a:lnTo>
                <a:lnTo>
                  <a:pt x="7010" y="615"/>
                </a:lnTo>
                <a:lnTo>
                  <a:pt x="6986" y="619"/>
                </a:lnTo>
                <a:lnTo>
                  <a:pt x="6962" y="627"/>
                </a:lnTo>
                <a:lnTo>
                  <a:pt x="6941" y="636"/>
                </a:lnTo>
                <a:lnTo>
                  <a:pt x="6921" y="646"/>
                </a:lnTo>
                <a:lnTo>
                  <a:pt x="6902" y="658"/>
                </a:lnTo>
                <a:lnTo>
                  <a:pt x="6886" y="672"/>
                </a:lnTo>
                <a:lnTo>
                  <a:pt x="6874" y="684"/>
                </a:lnTo>
                <a:lnTo>
                  <a:pt x="6874" y="684"/>
                </a:lnTo>
                <a:lnTo>
                  <a:pt x="6871" y="688"/>
                </a:lnTo>
                <a:lnTo>
                  <a:pt x="6866" y="689"/>
                </a:lnTo>
                <a:lnTo>
                  <a:pt x="6862" y="688"/>
                </a:lnTo>
                <a:lnTo>
                  <a:pt x="6859" y="684"/>
                </a:lnTo>
                <a:lnTo>
                  <a:pt x="6847" y="634"/>
                </a:lnTo>
                <a:lnTo>
                  <a:pt x="6847" y="634"/>
                </a:lnTo>
                <a:lnTo>
                  <a:pt x="6845" y="631"/>
                </a:lnTo>
                <a:lnTo>
                  <a:pt x="6843" y="629"/>
                </a:lnTo>
                <a:lnTo>
                  <a:pt x="6840" y="627"/>
                </a:lnTo>
                <a:lnTo>
                  <a:pt x="6836" y="627"/>
                </a:lnTo>
                <a:lnTo>
                  <a:pt x="6725" y="627"/>
                </a:lnTo>
                <a:lnTo>
                  <a:pt x="6725" y="627"/>
                </a:lnTo>
                <a:lnTo>
                  <a:pt x="6721" y="627"/>
                </a:lnTo>
                <a:lnTo>
                  <a:pt x="6720" y="629"/>
                </a:lnTo>
                <a:lnTo>
                  <a:pt x="6718" y="631"/>
                </a:lnTo>
                <a:lnTo>
                  <a:pt x="6718" y="633"/>
                </a:lnTo>
                <a:lnTo>
                  <a:pt x="6718" y="1291"/>
                </a:lnTo>
                <a:lnTo>
                  <a:pt x="6718" y="1291"/>
                </a:lnTo>
                <a:lnTo>
                  <a:pt x="6718" y="1294"/>
                </a:lnTo>
                <a:lnTo>
                  <a:pt x="6720" y="1296"/>
                </a:lnTo>
                <a:lnTo>
                  <a:pt x="6721" y="1298"/>
                </a:lnTo>
                <a:lnTo>
                  <a:pt x="6725" y="1298"/>
                </a:lnTo>
                <a:lnTo>
                  <a:pt x="6854" y="1298"/>
                </a:lnTo>
                <a:lnTo>
                  <a:pt x="6854" y="1298"/>
                </a:lnTo>
                <a:lnTo>
                  <a:pt x="6855" y="1298"/>
                </a:lnTo>
                <a:lnTo>
                  <a:pt x="6857" y="1296"/>
                </a:lnTo>
                <a:lnTo>
                  <a:pt x="6859" y="1294"/>
                </a:lnTo>
                <a:lnTo>
                  <a:pt x="6859" y="1291"/>
                </a:lnTo>
                <a:lnTo>
                  <a:pt x="6859" y="925"/>
                </a:lnTo>
                <a:lnTo>
                  <a:pt x="6859" y="925"/>
                </a:lnTo>
                <a:lnTo>
                  <a:pt x="6860" y="889"/>
                </a:lnTo>
                <a:lnTo>
                  <a:pt x="6864" y="871"/>
                </a:lnTo>
                <a:lnTo>
                  <a:pt x="6866" y="856"/>
                </a:lnTo>
                <a:lnTo>
                  <a:pt x="6871" y="839"/>
                </a:lnTo>
                <a:lnTo>
                  <a:pt x="6876" y="825"/>
                </a:lnTo>
                <a:lnTo>
                  <a:pt x="6881" y="810"/>
                </a:lnTo>
                <a:lnTo>
                  <a:pt x="6888" y="798"/>
                </a:lnTo>
                <a:lnTo>
                  <a:pt x="6897" y="786"/>
                </a:lnTo>
                <a:lnTo>
                  <a:pt x="6907" y="775"/>
                </a:lnTo>
                <a:lnTo>
                  <a:pt x="6917" y="765"/>
                </a:lnTo>
                <a:lnTo>
                  <a:pt x="6929" y="758"/>
                </a:lnTo>
                <a:lnTo>
                  <a:pt x="6943" y="751"/>
                </a:lnTo>
                <a:lnTo>
                  <a:pt x="6958" y="748"/>
                </a:lnTo>
                <a:lnTo>
                  <a:pt x="6976" y="744"/>
                </a:lnTo>
                <a:lnTo>
                  <a:pt x="6993" y="743"/>
                </a:lnTo>
                <a:lnTo>
                  <a:pt x="6993" y="743"/>
                </a:lnTo>
                <a:lnTo>
                  <a:pt x="7013" y="744"/>
                </a:lnTo>
                <a:lnTo>
                  <a:pt x="7031" y="748"/>
                </a:lnTo>
                <a:lnTo>
                  <a:pt x="7046" y="753"/>
                </a:lnTo>
                <a:lnTo>
                  <a:pt x="7060" y="758"/>
                </a:lnTo>
                <a:lnTo>
                  <a:pt x="7074" y="767"/>
                </a:lnTo>
                <a:lnTo>
                  <a:pt x="7084" y="777"/>
                </a:lnTo>
                <a:lnTo>
                  <a:pt x="7092" y="787"/>
                </a:lnTo>
                <a:lnTo>
                  <a:pt x="7101" y="799"/>
                </a:lnTo>
                <a:lnTo>
                  <a:pt x="7108" y="813"/>
                </a:lnTo>
                <a:lnTo>
                  <a:pt x="7113" y="827"/>
                </a:lnTo>
                <a:lnTo>
                  <a:pt x="7118" y="842"/>
                </a:lnTo>
                <a:lnTo>
                  <a:pt x="7122" y="858"/>
                </a:lnTo>
                <a:lnTo>
                  <a:pt x="7127" y="890"/>
                </a:lnTo>
                <a:lnTo>
                  <a:pt x="7127" y="925"/>
                </a:lnTo>
                <a:lnTo>
                  <a:pt x="7127" y="1291"/>
                </a:lnTo>
                <a:lnTo>
                  <a:pt x="7127" y="1291"/>
                </a:lnTo>
                <a:lnTo>
                  <a:pt x="7128" y="1294"/>
                </a:lnTo>
                <a:lnTo>
                  <a:pt x="7128" y="1296"/>
                </a:lnTo>
                <a:lnTo>
                  <a:pt x="7130" y="1298"/>
                </a:lnTo>
                <a:lnTo>
                  <a:pt x="7134" y="1298"/>
                </a:lnTo>
                <a:lnTo>
                  <a:pt x="7264" y="1298"/>
                </a:lnTo>
                <a:lnTo>
                  <a:pt x="7264" y="1298"/>
                </a:lnTo>
                <a:lnTo>
                  <a:pt x="7268" y="1296"/>
                </a:lnTo>
                <a:lnTo>
                  <a:pt x="7269" y="1294"/>
                </a:lnTo>
                <a:lnTo>
                  <a:pt x="7271" y="1291"/>
                </a:lnTo>
                <a:lnTo>
                  <a:pt x="7271" y="925"/>
                </a:lnTo>
                <a:lnTo>
                  <a:pt x="7271" y="925"/>
                </a:lnTo>
                <a:lnTo>
                  <a:pt x="7273" y="889"/>
                </a:lnTo>
                <a:lnTo>
                  <a:pt x="7276" y="856"/>
                </a:lnTo>
                <a:lnTo>
                  <a:pt x="7280" y="839"/>
                </a:lnTo>
                <a:lnTo>
                  <a:pt x="7285" y="825"/>
                </a:lnTo>
                <a:lnTo>
                  <a:pt x="7290" y="810"/>
                </a:lnTo>
                <a:lnTo>
                  <a:pt x="7297" y="798"/>
                </a:lnTo>
                <a:lnTo>
                  <a:pt x="7305" y="786"/>
                </a:lnTo>
                <a:lnTo>
                  <a:pt x="7314" y="775"/>
                </a:lnTo>
                <a:lnTo>
                  <a:pt x="7324" y="765"/>
                </a:lnTo>
                <a:lnTo>
                  <a:pt x="7338" y="758"/>
                </a:lnTo>
                <a:lnTo>
                  <a:pt x="7352" y="751"/>
                </a:lnTo>
                <a:lnTo>
                  <a:pt x="7367" y="748"/>
                </a:lnTo>
                <a:lnTo>
                  <a:pt x="7384" y="744"/>
                </a:lnTo>
                <a:lnTo>
                  <a:pt x="7403" y="743"/>
                </a:lnTo>
                <a:lnTo>
                  <a:pt x="7403" y="743"/>
                </a:lnTo>
                <a:lnTo>
                  <a:pt x="7424" y="744"/>
                </a:lnTo>
                <a:lnTo>
                  <a:pt x="7441" y="748"/>
                </a:lnTo>
                <a:lnTo>
                  <a:pt x="7457" y="753"/>
                </a:lnTo>
                <a:lnTo>
                  <a:pt x="7472" y="760"/>
                </a:lnTo>
                <a:lnTo>
                  <a:pt x="7484" y="767"/>
                </a:lnTo>
                <a:lnTo>
                  <a:pt x="7494" y="777"/>
                </a:lnTo>
                <a:lnTo>
                  <a:pt x="7505" y="789"/>
                </a:lnTo>
                <a:lnTo>
                  <a:pt x="7513" y="801"/>
                </a:lnTo>
                <a:lnTo>
                  <a:pt x="7520" y="813"/>
                </a:lnTo>
                <a:lnTo>
                  <a:pt x="7525" y="828"/>
                </a:lnTo>
                <a:lnTo>
                  <a:pt x="7531" y="842"/>
                </a:lnTo>
                <a:lnTo>
                  <a:pt x="7534" y="859"/>
                </a:lnTo>
                <a:lnTo>
                  <a:pt x="7537" y="892"/>
                </a:lnTo>
                <a:lnTo>
                  <a:pt x="7539" y="925"/>
                </a:lnTo>
                <a:lnTo>
                  <a:pt x="7539" y="1291"/>
                </a:lnTo>
                <a:lnTo>
                  <a:pt x="7539" y="1291"/>
                </a:lnTo>
                <a:lnTo>
                  <a:pt x="7539" y="1294"/>
                </a:lnTo>
                <a:lnTo>
                  <a:pt x="7541" y="1296"/>
                </a:lnTo>
                <a:lnTo>
                  <a:pt x="7543" y="1298"/>
                </a:lnTo>
                <a:lnTo>
                  <a:pt x="7546" y="1298"/>
                </a:lnTo>
                <a:lnTo>
                  <a:pt x="7673" y="1298"/>
                </a:lnTo>
                <a:lnTo>
                  <a:pt x="7673" y="1298"/>
                </a:lnTo>
                <a:lnTo>
                  <a:pt x="7677" y="1298"/>
                </a:lnTo>
                <a:lnTo>
                  <a:pt x="7678" y="1296"/>
                </a:lnTo>
                <a:lnTo>
                  <a:pt x="7680" y="1294"/>
                </a:lnTo>
                <a:lnTo>
                  <a:pt x="7680" y="1291"/>
                </a:lnTo>
                <a:lnTo>
                  <a:pt x="7680" y="921"/>
                </a:lnTo>
                <a:lnTo>
                  <a:pt x="7680" y="921"/>
                </a:lnTo>
                <a:lnTo>
                  <a:pt x="7680" y="883"/>
                </a:lnTo>
                <a:lnTo>
                  <a:pt x="7677" y="849"/>
                </a:lnTo>
                <a:lnTo>
                  <a:pt x="7671" y="818"/>
                </a:lnTo>
                <a:lnTo>
                  <a:pt x="7663" y="787"/>
                </a:lnTo>
                <a:lnTo>
                  <a:pt x="7654" y="760"/>
                </a:lnTo>
                <a:lnTo>
                  <a:pt x="7642" y="734"/>
                </a:lnTo>
                <a:lnTo>
                  <a:pt x="7628" y="712"/>
                </a:lnTo>
                <a:lnTo>
                  <a:pt x="7613" y="691"/>
                </a:lnTo>
                <a:lnTo>
                  <a:pt x="7594" y="672"/>
                </a:lnTo>
                <a:lnTo>
                  <a:pt x="7575" y="657"/>
                </a:lnTo>
                <a:lnTo>
                  <a:pt x="7553" y="645"/>
                </a:lnTo>
                <a:lnTo>
                  <a:pt x="7529" y="633"/>
                </a:lnTo>
                <a:lnTo>
                  <a:pt x="7505" y="624"/>
                </a:lnTo>
                <a:lnTo>
                  <a:pt x="7477" y="619"/>
                </a:lnTo>
                <a:lnTo>
                  <a:pt x="7448" y="614"/>
                </a:lnTo>
                <a:lnTo>
                  <a:pt x="7417" y="614"/>
                </a:lnTo>
                <a:lnTo>
                  <a:pt x="7417" y="614"/>
                </a:lnTo>
                <a:close/>
                <a:moveTo>
                  <a:pt x="5867" y="627"/>
                </a:moveTo>
                <a:lnTo>
                  <a:pt x="5739" y="627"/>
                </a:lnTo>
                <a:lnTo>
                  <a:pt x="5739" y="627"/>
                </a:lnTo>
                <a:lnTo>
                  <a:pt x="5735" y="627"/>
                </a:lnTo>
                <a:lnTo>
                  <a:pt x="5733" y="629"/>
                </a:lnTo>
                <a:lnTo>
                  <a:pt x="5732" y="631"/>
                </a:lnTo>
                <a:lnTo>
                  <a:pt x="5732" y="633"/>
                </a:lnTo>
                <a:lnTo>
                  <a:pt x="5732" y="1291"/>
                </a:lnTo>
                <a:lnTo>
                  <a:pt x="5732" y="1291"/>
                </a:lnTo>
                <a:lnTo>
                  <a:pt x="5732" y="1294"/>
                </a:lnTo>
                <a:lnTo>
                  <a:pt x="5733" y="1296"/>
                </a:lnTo>
                <a:lnTo>
                  <a:pt x="5735" y="1298"/>
                </a:lnTo>
                <a:lnTo>
                  <a:pt x="5739" y="1298"/>
                </a:lnTo>
                <a:lnTo>
                  <a:pt x="5867" y="1298"/>
                </a:lnTo>
                <a:lnTo>
                  <a:pt x="5867" y="1298"/>
                </a:lnTo>
                <a:lnTo>
                  <a:pt x="5871" y="1298"/>
                </a:lnTo>
                <a:lnTo>
                  <a:pt x="5873" y="1296"/>
                </a:lnTo>
                <a:lnTo>
                  <a:pt x="5874" y="1294"/>
                </a:lnTo>
                <a:lnTo>
                  <a:pt x="5874" y="1291"/>
                </a:lnTo>
                <a:lnTo>
                  <a:pt x="5874" y="633"/>
                </a:lnTo>
                <a:lnTo>
                  <a:pt x="5874" y="633"/>
                </a:lnTo>
                <a:lnTo>
                  <a:pt x="5874" y="631"/>
                </a:lnTo>
                <a:lnTo>
                  <a:pt x="5873" y="629"/>
                </a:lnTo>
                <a:lnTo>
                  <a:pt x="5871" y="627"/>
                </a:lnTo>
                <a:lnTo>
                  <a:pt x="5867" y="627"/>
                </a:lnTo>
                <a:lnTo>
                  <a:pt x="5867" y="627"/>
                </a:lnTo>
                <a:close/>
                <a:moveTo>
                  <a:pt x="5804" y="368"/>
                </a:moveTo>
                <a:lnTo>
                  <a:pt x="5804" y="368"/>
                </a:lnTo>
                <a:lnTo>
                  <a:pt x="5785" y="370"/>
                </a:lnTo>
                <a:lnTo>
                  <a:pt x="5769" y="375"/>
                </a:lnTo>
                <a:lnTo>
                  <a:pt x="5754" y="382"/>
                </a:lnTo>
                <a:lnTo>
                  <a:pt x="5742" y="392"/>
                </a:lnTo>
                <a:lnTo>
                  <a:pt x="5732" y="406"/>
                </a:lnTo>
                <a:lnTo>
                  <a:pt x="5723" y="419"/>
                </a:lnTo>
                <a:lnTo>
                  <a:pt x="5718" y="437"/>
                </a:lnTo>
                <a:lnTo>
                  <a:pt x="5716" y="454"/>
                </a:lnTo>
                <a:lnTo>
                  <a:pt x="5716" y="454"/>
                </a:lnTo>
                <a:lnTo>
                  <a:pt x="5718" y="471"/>
                </a:lnTo>
                <a:lnTo>
                  <a:pt x="5723" y="486"/>
                </a:lnTo>
                <a:lnTo>
                  <a:pt x="5732" y="502"/>
                </a:lnTo>
                <a:lnTo>
                  <a:pt x="5742" y="514"/>
                </a:lnTo>
                <a:lnTo>
                  <a:pt x="5754" y="524"/>
                </a:lnTo>
                <a:lnTo>
                  <a:pt x="5769" y="533"/>
                </a:lnTo>
                <a:lnTo>
                  <a:pt x="5785" y="538"/>
                </a:lnTo>
                <a:lnTo>
                  <a:pt x="5804" y="540"/>
                </a:lnTo>
                <a:lnTo>
                  <a:pt x="5804" y="540"/>
                </a:lnTo>
                <a:lnTo>
                  <a:pt x="5821" y="538"/>
                </a:lnTo>
                <a:lnTo>
                  <a:pt x="5836" y="533"/>
                </a:lnTo>
                <a:lnTo>
                  <a:pt x="5852" y="524"/>
                </a:lnTo>
                <a:lnTo>
                  <a:pt x="5864" y="514"/>
                </a:lnTo>
                <a:lnTo>
                  <a:pt x="5874" y="502"/>
                </a:lnTo>
                <a:lnTo>
                  <a:pt x="5883" y="486"/>
                </a:lnTo>
                <a:lnTo>
                  <a:pt x="5888" y="471"/>
                </a:lnTo>
                <a:lnTo>
                  <a:pt x="5890" y="454"/>
                </a:lnTo>
                <a:lnTo>
                  <a:pt x="5890" y="454"/>
                </a:lnTo>
                <a:lnTo>
                  <a:pt x="5888" y="437"/>
                </a:lnTo>
                <a:lnTo>
                  <a:pt x="5883" y="419"/>
                </a:lnTo>
                <a:lnTo>
                  <a:pt x="5874" y="406"/>
                </a:lnTo>
                <a:lnTo>
                  <a:pt x="5864" y="392"/>
                </a:lnTo>
                <a:lnTo>
                  <a:pt x="5852" y="382"/>
                </a:lnTo>
                <a:lnTo>
                  <a:pt x="5836" y="375"/>
                </a:lnTo>
                <a:lnTo>
                  <a:pt x="5821" y="370"/>
                </a:lnTo>
                <a:lnTo>
                  <a:pt x="5804" y="368"/>
                </a:lnTo>
                <a:lnTo>
                  <a:pt x="5804" y="368"/>
                </a:lnTo>
                <a:close/>
                <a:moveTo>
                  <a:pt x="967" y="0"/>
                </a:moveTo>
                <a:lnTo>
                  <a:pt x="967" y="0"/>
                </a:lnTo>
                <a:lnTo>
                  <a:pt x="917" y="0"/>
                </a:lnTo>
                <a:lnTo>
                  <a:pt x="868" y="5"/>
                </a:lnTo>
                <a:lnTo>
                  <a:pt x="820" y="10"/>
                </a:lnTo>
                <a:lnTo>
                  <a:pt x="771" y="19"/>
                </a:lnTo>
                <a:lnTo>
                  <a:pt x="725" y="29"/>
                </a:lnTo>
                <a:lnTo>
                  <a:pt x="679" y="43"/>
                </a:lnTo>
                <a:lnTo>
                  <a:pt x="634" y="58"/>
                </a:lnTo>
                <a:lnTo>
                  <a:pt x="591" y="76"/>
                </a:lnTo>
                <a:lnTo>
                  <a:pt x="548" y="95"/>
                </a:lnTo>
                <a:lnTo>
                  <a:pt x="505" y="117"/>
                </a:lnTo>
                <a:lnTo>
                  <a:pt x="466" y="139"/>
                </a:lnTo>
                <a:lnTo>
                  <a:pt x="426" y="165"/>
                </a:lnTo>
                <a:lnTo>
                  <a:pt x="388" y="193"/>
                </a:lnTo>
                <a:lnTo>
                  <a:pt x="352" y="220"/>
                </a:lnTo>
                <a:lnTo>
                  <a:pt x="316" y="251"/>
                </a:lnTo>
                <a:lnTo>
                  <a:pt x="283" y="284"/>
                </a:lnTo>
                <a:lnTo>
                  <a:pt x="251" y="316"/>
                </a:lnTo>
                <a:lnTo>
                  <a:pt x="220" y="352"/>
                </a:lnTo>
                <a:lnTo>
                  <a:pt x="192" y="388"/>
                </a:lnTo>
                <a:lnTo>
                  <a:pt x="165" y="426"/>
                </a:lnTo>
                <a:lnTo>
                  <a:pt x="139" y="466"/>
                </a:lnTo>
                <a:lnTo>
                  <a:pt x="117" y="505"/>
                </a:lnTo>
                <a:lnTo>
                  <a:pt x="94" y="548"/>
                </a:lnTo>
                <a:lnTo>
                  <a:pt x="76" y="591"/>
                </a:lnTo>
                <a:lnTo>
                  <a:pt x="58" y="634"/>
                </a:lnTo>
                <a:lnTo>
                  <a:pt x="43" y="679"/>
                </a:lnTo>
                <a:lnTo>
                  <a:pt x="29" y="725"/>
                </a:lnTo>
                <a:lnTo>
                  <a:pt x="19" y="772"/>
                </a:lnTo>
                <a:lnTo>
                  <a:pt x="10" y="820"/>
                </a:lnTo>
                <a:lnTo>
                  <a:pt x="5" y="868"/>
                </a:lnTo>
                <a:lnTo>
                  <a:pt x="0" y="918"/>
                </a:lnTo>
                <a:lnTo>
                  <a:pt x="0" y="968"/>
                </a:lnTo>
                <a:lnTo>
                  <a:pt x="0" y="968"/>
                </a:lnTo>
                <a:lnTo>
                  <a:pt x="0" y="1018"/>
                </a:lnTo>
                <a:lnTo>
                  <a:pt x="5" y="1067"/>
                </a:lnTo>
                <a:lnTo>
                  <a:pt x="10" y="1116"/>
                </a:lnTo>
                <a:lnTo>
                  <a:pt x="19" y="1162"/>
                </a:lnTo>
                <a:lnTo>
                  <a:pt x="29" y="1210"/>
                </a:lnTo>
                <a:lnTo>
                  <a:pt x="43" y="1255"/>
                </a:lnTo>
                <a:lnTo>
                  <a:pt x="58" y="1301"/>
                </a:lnTo>
                <a:lnTo>
                  <a:pt x="76" y="1344"/>
                </a:lnTo>
                <a:lnTo>
                  <a:pt x="94" y="1387"/>
                </a:lnTo>
                <a:lnTo>
                  <a:pt x="117" y="1428"/>
                </a:lnTo>
                <a:lnTo>
                  <a:pt x="139" y="1470"/>
                </a:lnTo>
                <a:lnTo>
                  <a:pt x="165" y="1509"/>
                </a:lnTo>
                <a:lnTo>
                  <a:pt x="192" y="1547"/>
                </a:lnTo>
                <a:lnTo>
                  <a:pt x="220" y="1583"/>
                </a:lnTo>
                <a:lnTo>
                  <a:pt x="251" y="1619"/>
                </a:lnTo>
                <a:lnTo>
                  <a:pt x="283" y="1652"/>
                </a:lnTo>
                <a:lnTo>
                  <a:pt x="316" y="1684"/>
                </a:lnTo>
                <a:lnTo>
                  <a:pt x="352" y="1715"/>
                </a:lnTo>
                <a:lnTo>
                  <a:pt x="388" y="1743"/>
                </a:lnTo>
                <a:lnTo>
                  <a:pt x="426" y="1770"/>
                </a:lnTo>
                <a:lnTo>
                  <a:pt x="466" y="1796"/>
                </a:lnTo>
                <a:lnTo>
                  <a:pt x="505" y="1819"/>
                </a:lnTo>
                <a:lnTo>
                  <a:pt x="548" y="1841"/>
                </a:lnTo>
                <a:lnTo>
                  <a:pt x="591" y="1860"/>
                </a:lnTo>
                <a:lnTo>
                  <a:pt x="634" y="1877"/>
                </a:lnTo>
                <a:lnTo>
                  <a:pt x="679" y="1892"/>
                </a:lnTo>
                <a:lnTo>
                  <a:pt x="725" y="1904"/>
                </a:lnTo>
                <a:lnTo>
                  <a:pt x="771" y="1916"/>
                </a:lnTo>
                <a:lnTo>
                  <a:pt x="820" y="1925"/>
                </a:lnTo>
                <a:lnTo>
                  <a:pt x="868" y="1930"/>
                </a:lnTo>
                <a:lnTo>
                  <a:pt x="917" y="1934"/>
                </a:lnTo>
                <a:lnTo>
                  <a:pt x="967" y="1935"/>
                </a:lnTo>
                <a:lnTo>
                  <a:pt x="967" y="1935"/>
                </a:lnTo>
                <a:lnTo>
                  <a:pt x="1017" y="1934"/>
                </a:lnTo>
                <a:lnTo>
                  <a:pt x="1067" y="1930"/>
                </a:lnTo>
                <a:lnTo>
                  <a:pt x="1115" y="1925"/>
                </a:lnTo>
                <a:lnTo>
                  <a:pt x="1161" y="1916"/>
                </a:lnTo>
                <a:lnTo>
                  <a:pt x="1210" y="1904"/>
                </a:lnTo>
                <a:lnTo>
                  <a:pt x="1254" y="1892"/>
                </a:lnTo>
                <a:lnTo>
                  <a:pt x="1301" y="1877"/>
                </a:lnTo>
                <a:lnTo>
                  <a:pt x="1344" y="1860"/>
                </a:lnTo>
                <a:lnTo>
                  <a:pt x="1387" y="1841"/>
                </a:lnTo>
                <a:lnTo>
                  <a:pt x="1428" y="1819"/>
                </a:lnTo>
                <a:lnTo>
                  <a:pt x="1469" y="1796"/>
                </a:lnTo>
                <a:lnTo>
                  <a:pt x="1509" y="1770"/>
                </a:lnTo>
                <a:lnTo>
                  <a:pt x="1546" y="1743"/>
                </a:lnTo>
                <a:lnTo>
                  <a:pt x="1582" y="1715"/>
                </a:lnTo>
                <a:lnTo>
                  <a:pt x="1618" y="1684"/>
                </a:lnTo>
                <a:lnTo>
                  <a:pt x="1651" y="1652"/>
                </a:lnTo>
                <a:lnTo>
                  <a:pt x="1684" y="1619"/>
                </a:lnTo>
                <a:lnTo>
                  <a:pt x="1715" y="1583"/>
                </a:lnTo>
                <a:lnTo>
                  <a:pt x="1742" y="1547"/>
                </a:lnTo>
                <a:lnTo>
                  <a:pt x="1770" y="1509"/>
                </a:lnTo>
                <a:lnTo>
                  <a:pt x="1795" y="1470"/>
                </a:lnTo>
                <a:lnTo>
                  <a:pt x="1818" y="1428"/>
                </a:lnTo>
                <a:lnTo>
                  <a:pt x="1840" y="1387"/>
                </a:lnTo>
                <a:lnTo>
                  <a:pt x="1859" y="1344"/>
                </a:lnTo>
                <a:lnTo>
                  <a:pt x="1876" y="1301"/>
                </a:lnTo>
                <a:lnTo>
                  <a:pt x="1892" y="1255"/>
                </a:lnTo>
                <a:lnTo>
                  <a:pt x="1904" y="1210"/>
                </a:lnTo>
                <a:lnTo>
                  <a:pt x="1916" y="1162"/>
                </a:lnTo>
                <a:lnTo>
                  <a:pt x="1924" y="1116"/>
                </a:lnTo>
                <a:lnTo>
                  <a:pt x="1929" y="1067"/>
                </a:lnTo>
                <a:lnTo>
                  <a:pt x="1933" y="1018"/>
                </a:lnTo>
                <a:lnTo>
                  <a:pt x="1935" y="968"/>
                </a:lnTo>
                <a:lnTo>
                  <a:pt x="1935" y="968"/>
                </a:lnTo>
                <a:lnTo>
                  <a:pt x="1933" y="918"/>
                </a:lnTo>
                <a:lnTo>
                  <a:pt x="1929" y="868"/>
                </a:lnTo>
                <a:lnTo>
                  <a:pt x="1924" y="820"/>
                </a:lnTo>
                <a:lnTo>
                  <a:pt x="1916" y="772"/>
                </a:lnTo>
                <a:lnTo>
                  <a:pt x="1904" y="725"/>
                </a:lnTo>
                <a:lnTo>
                  <a:pt x="1892" y="679"/>
                </a:lnTo>
                <a:lnTo>
                  <a:pt x="1876" y="634"/>
                </a:lnTo>
                <a:lnTo>
                  <a:pt x="1859" y="591"/>
                </a:lnTo>
                <a:lnTo>
                  <a:pt x="1840" y="548"/>
                </a:lnTo>
                <a:lnTo>
                  <a:pt x="1818" y="505"/>
                </a:lnTo>
                <a:lnTo>
                  <a:pt x="1795" y="466"/>
                </a:lnTo>
                <a:lnTo>
                  <a:pt x="1770" y="426"/>
                </a:lnTo>
                <a:lnTo>
                  <a:pt x="1742" y="388"/>
                </a:lnTo>
                <a:lnTo>
                  <a:pt x="1715" y="352"/>
                </a:lnTo>
                <a:lnTo>
                  <a:pt x="1684" y="316"/>
                </a:lnTo>
                <a:lnTo>
                  <a:pt x="1651" y="284"/>
                </a:lnTo>
                <a:lnTo>
                  <a:pt x="1618" y="251"/>
                </a:lnTo>
                <a:lnTo>
                  <a:pt x="1582" y="220"/>
                </a:lnTo>
                <a:lnTo>
                  <a:pt x="1546" y="193"/>
                </a:lnTo>
                <a:lnTo>
                  <a:pt x="1509" y="165"/>
                </a:lnTo>
                <a:lnTo>
                  <a:pt x="1469" y="139"/>
                </a:lnTo>
                <a:lnTo>
                  <a:pt x="1428" y="117"/>
                </a:lnTo>
                <a:lnTo>
                  <a:pt x="1387" y="95"/>
                </a:lnTo>
                <a:lnTo>
                  <a:pt x="1344" y="76"/>
                </a:lnTo>
                <a:lnTo>
                  <a:pt x="1301" y="58"/>
                </a:lnTo>
                <a:lnTo>
                  <a:pt x="1254" y="43"/>
                </a:lnTo>
                <a:lnTo>
                  <a:pt x="1210" y="29"/>
                </a:lnTo>
                <a:lnTo>
                  <a:pt x="1161" y="19"/>
                </a:lnTo>
                <a:lnTo>
                  <a:pt x="1115" y="10"/>
                </a:lnTo>
                <a:lnTo>
                  <a:pt x="1067" y="5"/>
                </a:lnTo>
                <a:lnTo>
                  <a:pt x="1017" y="0"/>
                </a:lnTo>
                <a:lnTo>
                  <a:pt x="967" y="0"/>
                </a:lnTo>
                <a:lnTo>
                  <a:pt x="967" y="0"/>
                </a:lnTo>
                <a:close/>
                <a:moveTo>
                  <a:pt x="711" y="1224"/>
                </a:moveTo>
                <a:lnTo>
                  <a:pt x="711" y="1224"/>
                </a:lnTo>
                <a:lnTo>
                  <a:pt x="686" y="1196"/>
                </a:lnTo>
                <a:lnTo>
                  <a:pt x="665" y="1167"/>
                </a:lnTo>
                <a:lnTo>
                  <a:pt x="646" y="1136"/>
                </a:lnTo>
                <a:lnTo>
                  <a:pt x="631" y="1103"/>
                </a:lnTo>
                <a:lnTo>
                  <a:pt x="619" y="1071"/>
                </a:lnTo>
                <a:lnTo>
                  <a:pt x="612" y="1036"/>
                </a:lnTo>
                <a:lnTo>
                  <a:pt x="606" y="1002"/>
                </a:lnTo>
                <a:lnTo>
                  <a:pt x="605" y="968"/>
                </a:lnTo>
                <a:lnTo>
                  <a:pt x="606" y="933"/>
                </a:lnTo>
                <a:lnTo>
                  <a:pt x="612" y="899"/>
                </a:lnTo>
                <a:lnTo>
                  <a:pt x="619" y="865"/>
                </a:lnTo>
                <a:lnTo>
                  <a:pt x="631" y="830"/>
                </a:lnTo>
                <a:lnTo>
                  <a:pt x="646" y="799"/>
                </a:lnTo>
                <a:lnTo>
                  <a:pt x="665" y="768"/>
                </a:lnTo>
                <a:lnTo>
                  <a:pt x="686" y="739"/>
                </a:lnTo>
                <a:lnTo>
                  <a:pt x="711" y="712"/>
                </a:lnTo>
                <a:lnTo>
                  <a:pt x="711" y="712"/>
                </a:lnTo>
                <a:lnTo>
                  <a:pt x="739" y="686"/>
                </a:lnTo>
                <a:lnTo>
                  <a:pt x="768" y="665"/>
                </a:lnTo>
                <a:lnTo>
                  <a:pt x="799" y="646"/>
                </a:lnTo>
                <a:lnTo>
                  <a:pt x="830" y="631"/>
                </a:lnTo>
                <a:lnTo>
                  <a:pt x="864" y="619"/>
                </a:lnTo>
                <a:lnTo>
                  <a:pt x="899" y="612"/>
                </a:lnTo>
                <a:lnTo>
                  <a:pt x="933" y="607"/>
                </a:lnTo>
                <a:lnTo>
                  <a:pt x="967" y="605"/>
                </a:lnTo>
                <a:lnTo>
                  <a:pt x="1002" y="607"/>
                </a:lnTo>
                <a:lnTo>
                  <a:pt x="1036" y="612"/>
                </a:lnTo>
                <a:lnTo>
                  <a:pt x="1070" y="619"/>
                </a:lnTo>
                <a:lnTo>
                  <a:pt x="1103" y="631"/>
                </a:lnTo>
                <a:lnTo>
                  <a:pt x="1136" y="646"/>
                </a:lnTo>
                <a:lnTo>
                  <a:pt x="1167" y="665"/>
                </a:lnTo>
                <a:lnTo>
                  <a:pt x="1196" y="686"/>
                </a:lnTo>
                <a:lnTo>
                  <a:pt x="1223" y="712"/>
                </a:lnTo>
                <a:lnTo>
                  <a:pt x="1223" y="712"/>
                </a:lnTo>
                <a:lnTo>
                  <a:pt x="1249" y="739"/>
                </a:lnTo>
                <a:lnTo>
                  <a:pt x="1270" y="768"/>
                </a:lnTo>
                <a:lnTo>
                  <a:pt x="1289" y="799"/>
                </a:lnTo>
                <a:lnTo>
                  <a:pt x="1304" y="830"/>
                </a:lnTo>
                <a:lnTo>
                  <a:pt x="1314" y="865"/>
                </a:lnTo>
                <a:lnTo>
                  <a:pt x="1323" y="899"/>
                </a:lnTo>
                <a:lnTo>
                  <a:pt x="1328" y="933"/>
                </a:lnTo>
                <a:lnTo>
                  <a:pt x="1330" y="968"/>
                </a:lnTo>
                <a:lnTo>
                  <a:pt x="1328" y="1002"/>
                </a:lnTo>
                <a:lnTo>
                  <a:pt x="1323" y="1036"/>
                </a:lnTo>
                <a:lnTo>
                  <a:pt x="1314" y="1071"/>
                </a:lnTo>
                <a:lnTo>
                  <a:pt x="1304" y="1103"/>
                </a:lnTo>
                <a:lnTo>
                  <a:pt x="1289" y="1136"/>
                </a:lnTo>
                <a:lnTo>
                  <a:pt x="1270" y="1167"/>
                </a:lnTo>
                <a:lnTo>
                  <a:pt x="1249" y="1196"/>
                </a:lnTo>
                <a:lnTo>
                  <a:pt x="1223" y="1224"/>
                </a:lnTo>
                <a:lnTo>
                  <a:pt x="1223" y="1224"/>
                </a:lnTo>
                <a:lnTo>
                  <a:pt x="1196" y="1250"/>
                </a:lnTo>
                <a:lnTo>
                  <a:pt x="1167" y="1270"/>
                </a:lnTo>
                <a:lnTo>
                  <a:pt x="1136" y="1289"/>
                </a:lnTo>
                <a:lnTo>
                  <a:pt x="1103" y="1305"/>
                </a:lnTo>
                <a:lnTo>
                  <a:pt x="1070" y="1315"/>
                </a:lnTo>
                <a:lnTo>
                  <a:pt x="1036" y="1324"/>
                </a:lnTo>
                <a:lnTo>
                  <a:pt x="1002" y="1329"/>
                </a:lnTo>
                <a:lnTo>
                  <a:pt x="967" y="1330"/>
                </a:lnTo>
                <a:lnTo>
                  <a:pt x="933" y="1329"/>
                </a:lnTo>
                <a:lnTo>
                  <a:pt x="899" y="1324"/>
                </a:lnTo>
                <a:lnTo>
                  <a:pt x="864" y="1315"/>
                </a:lnTo>
                <a:lnTo>
                  <a:pt x="830" y="1305"/>
                </a:lnTo>
                <a:lnTo>
                  <a:pt x="799" y="1289"/>
                </a:lnTo>
                <a:lnTo>
                  <a:pt x="768" y="1270"/>
                </a:lnTo>
                <a:lnTo>
                  <a:pt x="739" y="1250"/>
                </a:lnTo>
                <a:lnTo>
                  <a:pt x="711" y="1224"/>
                </a:lnTo>
                <a:lnTo>
                  <a:pt x="711" y="1224"/>
                </a:lnTo>
                <a:close/>
                <a:moveTo>
                  <a:pt x="1438" y="1619"/>
                </a:moveTo>
                <a:lnTo>
                  <a:pt x="1438" y="1619"/>
                </a:lnTo>
                <a:lnTo>
                  <a:pt x="1419" y="1619"/>
                </a:lnTo>
                <a:lnTo>
                  <a:pt x="1400" y="1616"/>
                </a:lnTo>
                <a:lnTo>
                  <a:pt x="1383" y="1612"/>
                </a:lnTo>
                <a:lnTo>
                  <a:pt x="1368" y="1605"/>
                </a:lnTo>
                <a:lnTo>
                  <a:pt x="1350" y="1599"/>
                </a:lnTo>
                <a:lnTo>
                  <a:pt x="1337" y="1588"/>
                </a:lnTo>
                <a:lnTo>
                  <a:pt x="1323" y="1578"/>
                </a:lnTo>
                <a:lnTo>
                  <a:pt x="1309" y="1566"/>
                </a:lnTo>
                <a:lnTo>
                  <a:pt x="1297" y="1554"/>
                </a:lnTo>
                <a:lnTo>
                  <a:pt x="1287" y="1540"/>
                </a:lnTo>
                <a:lnTo>
                  <a:pt x="1278" y="1525"/>
                </a:lnTo>
                <a:lnTo>
                  <a:pt x="1270" y="1509"/>
                </a:lnTo>
                <a:lnTo>
                  <a:pt x="1265" y="1492"/>
                </a:lnTo>
                <a:lnTo>
                  <a:pt x="1259" y="1475"/>
                </a:lnTo>
                <a:lnTo>
                  <a:pt x="1258" y="1458"/>
                </a:lnTo>
                <a:lnTo>
                  <a:pt x="1256" y="1439"/>
                </a:lnTo>
                <a:lnTo>
                  <a:pt x="1256" y="1439"/>
                </a:lnTo>
                <a:lnTo>
                  <a:pt x="1258" y="1420"/>
                </a:lnTo>
                <a:lnTo>
                  <a:pt x="1259" y="1401"/>
                </a:lnTo>
                <a:lnTo>
                  <a:pt x="1265" y="1384"/>
                </a:lnTo>
                <a:lnTo>
                  <a:pt x="1270" y="1368"/>
                </a:lnTo>
                <a:lnTo>
                  <a:pt x="1278" y="1351"/>
                </a:lnTo>
                <a:lnTo>
                  <a:pt x="1287" y="1337"/>
                </a:lnTo>
                <a:lnTo>
                  <a:pt x="1297" y="1324"/>
                </a:lnTo>
                <a:lnTo>
                  <a:pt x="1309" y="1310"/>
                </a:lnTo>
                <a:lnTo>
                  <a:pt x="1323" y="1298"/>
                </a:lnTo>
                <a:lnTo>
                  <a:pt x="1337" y="1287"/>
                </a:lnTo>
                <a:lnTo>
                  <a:pt x="1350" y="1279"/>
                </a:lnTo>
                <a:lnTo>
                  <a:pt x="1368" y="1270"/>
                </a:lnTo>
                <a:lnTo>
                  <a:pt x="1383" y="1265"/>
                </a:lnTo>
                <a:lnTo>
                  <a:pt x="1400" y="1260"/>
                </a:lnTo>
                <a:lnTo>
                  <a:pt x="1419" y="1258"/>
                </a:lnTo>
                <a:lnTo>
                  <a:pt x="1438" y="1256"/>
                </a:lnTo>
                <a:lnTo>
                  <a:pt x="1438" y="1256"/>
                </a:lnTo>
                <a:lnTo>
                  <a:pt x="1457" y="1258"/>
                </a:lnTo>
                <a:lnTo>
                  <a:pt x="1474" y="1260"/>
                </a:lnTo>
                <a:lnTo>
                  <a:pt x="1491" y="1265"/>
                </a:lnTo>
                <a:lnTo>
                  <a:pt x="1509" y="1270"/>
                </a:lnTo>
                <a:lnTo>
                  <a:pt x="1524" y="1279"/>
                </a:lnTo>
                <a:lnTo>
                  <a:pt x="1539" y="1287"/>
                </a:lnTo>
                <a:lnTo>
                  <a:pt x="1553" y="1298"/>
                </a:lnTo>
                <a:lnTo>
                  <a:pt x="1565" y="1310"/>
                </a:lnTo>
                <a:lnTo>
                  <a:pt x="1577" y="1324"/>
                </a:lnTo>
                <a:lnTo>
                  <a:pt x="1588" y="1337"/>
                </a:lnTo>
                <a:lnTo>
                  <a:pt x="1598" y="1351"/>
                </a:lnTo>
                <a:lnTo>
                  <a:pt x="1605" y="1368"/>
                </a:lnTo>
                <a:lnTo>
                  <a:pt x="1612" y="1384"/>
                </a:lnTo>
                <a:lnTo>
                  <a:pt x="1615" y="1401"/>
                </a:lnTo>
                <a:lnTo>
                  <a:pt x="1618" y="1420"/>
                </a:lnTo>
                <a:lnTo>
                  <a:pt x="1618" y="1439"/>
                </a:lnTo>
                <a:lnTo>
                  <a:pt x="1618" y="1439"/>
                </a:lnTo>
                <a:lnTo>
                  <a:pt x="1618" y="1458"/>
                </a:lnTo>
                <a:lnTo>
                  <a:pt x="1615" y="1475"/>
                </a:lnTo>
                <a:lnTo>
                  <a:pt x="1612" y="1492"/>
                </a:lnTo>
                <a:lnTo>
                  <a:pt x="1605" y="1509"/>
                </a:lnTo>
                <a:lnTo>
                  <a:pt x="1598" y="1525"/>
                </a:lnTo>
                <a:lnTo>
                  <a:pt x="1588" y="1540"/>
                </a:lnTo>
                <a:lnTo>
                  <a:pt x="1577" y="1554"/>
                </a:lnTo>
                <a:lnTo>
                  <a:pt x="1565" y="1566"/>
                </a:lnTo>
                <a:lnTo>
                  <a:pt x="1553" y="1578"/>
                </a:lnTo>
                <a:lnTo>
                  <a:pt x="1539" y="1588"/>
                </a:lnTo>
                <a:lnTo>
                  <a:pt x="1524" y="1599"/>
                </a:lnTo>
                <a:lnTo>
                  <a:pt x="1509" y="1605"/>
                </a:lnTo>
                <a:lnTo>
                  <a:pt x="1491" y="1612"/>
                </a:lnTo>
                <a:lnTo>
                  <a:pt x="1474" y="1616"/>
                </a:lnTo>
                <a:lnTo>
                  <a:pt x="1457" y="1619"/>
                </a:lnTo>
                <a:lnTo>
                  <a:pt x="1438" y="1619"/>
                </a:lnTo>
                <a:lnTo>
                  <a:pt x="1438" y="1619"/>
                </a:lnTo>
                <a:close/>
                <a:moveTo>
                  <a:pt x="1823" y="1702"/>
                </a:moveTo>
                <a:lnTo>
                  <a:pt x="1823" y="1702"/>
                </a:lnTo>
                <a:lnTo>
                  <a:pt x="1811" y="1703"/>
                </a:lnTo>
                <a:lnTo>
                  <a:pt x="1799" y="1705"/>
                </a:lnTo>
                <a:lnTo>
                  <a:pt x="1787" y="1709"/>
                </a:lnTo>
                <a:lnTo>
                  <a:pt x="1775" y="1712"/>
                </a:lnTo>
                <a:lnTo>
                  <a:pt x="1765" y="1717"/>
                </a:lnTo>
                <a:lnTo>
                  <a:pt x="1754" y="1722"/>
                </a:lnTo>
                <a:lnTo>
                  <a:pt x="1746" y="1731"/>
                </a:lnTo>
                <a:lnTo>
                  <a:pt x="1737" y="1738"/>
                </a:lnTo>
                <a:lnTo>
                  <a:pt x="1728" y="1746"/>
                </a:lnTo>
                <a:lnTo>
                  <a:pt x="1722" y="1755"/>
                </a:lnTo>
                <a:lnTo>
                  <a:pt x="1716" y="1765"/>
                </a:lnTo>
                <a:lnTo>
                  <a:pt x="1711" y="1776"/>
                </a:lnTo>
                <a:lnTo>
                  <a:pt x="1708" y="1788"/>
                </a:lnTo>
                <a:lnTo>
                  <a:pt x="1704" y="1800"/>
                </a:lnTo>
                <a:lnTo>
                  <a:pt x="1703" y="1812"/>
                </a:lnTo>
                <a:lnTo>
                  <a:pt x="1701" y="1824"/>
                </a:lnTo>
                <a:lnTo>
                  <a:pt x="1701" y="1824"/>
                </a:lnTo>
                <a:lnTo>
                  <a:pt x="1703" y="1836"/>
                </a:lnTo>
                <a:lnTo>
                  <a:pt x="1704" y="1848"/>
                </a:lnTo>
                <a:lnTo>
                  <a:pt x="1708" y="1860"/>
                </a:lnTo>
                <a:lnTo>
                  <a:pt x="1711" y="1870"/>
                </a:lnTo>
                <a:lnTo>
                  <a:pt x="1716" y="1880"/>
                </a:lnTo>
                <a:lnTo>
                  <a:pt x="1722" y="1891"/>
                </a:lnTo>
                <a:lnTo>
                  <a:pt x="1728" y="1901"/>
                </a:lnTo>
                <a:lnTo>
                  <a:pt x="1737" y="1910"/>
                </a:lnTo>
                <a:lnTo>
                  <a:pt x="1746" y="1916"/>
                </a:lnTo>
                <a:lnTo>
                  <a:pt x="1754" y="1923"/>
                </a:lnTo>
                <a:lnTo>
                  <a:pt x="1765" y="1930"/>
                </a:lnTo>
                <a:lnTo>
                  <a:pt x="1775" y="1935"/>
                </a:lnTo>
                <a:lnTo>
                  <a:pt x="1787" y="1939"/>
                </a:lnTo>
                <a:lnTo>
                  <a:pt x="1799" y="1942"/>
                </a:lnTo>
                <a:lnTo>
                  <a:pt x="1811" y="1944"/>
                </a:lnTo>
                <a:lnTo>
                  <a:pt x="1823" y="1944"/>
                </a:lnTo>
                <a:lnTo>
                  <a:pt x="1823" y="1944"/>
                </a:lnTo>
                <a:lnTo>
                  <a:pt x="1835" y="1944"/>
                </a:lnTo>
                <a:lnTo>
                  <a:pt x="1847" y="1942"/>
                </a:lnTo>
                <a:lnTo>
                  <a:pt x="1859" y="1939"/>
                </a:lnTo>
                <a:lnTo>
                  <a:pt x="1869" y="1935"/>
                </a:lnTo>
                <a:lnTo>
                  <a:pt x="1880" y="1930"/>
                </a:lnTo>
                <a:lnTo>
                  <a:pt x="1890" y="1923"/>
                </a:lnTo>
                <a:lnTo>
                  <a:pt x="1900" y="1916"/>
                </a:lnTo>
                <a:lnTo>
                  <a:pt x="1909" y="1910"/>
                </a:lnTo>
                <a:lnTo>
                  <a:pt x="1916" y="1901"/>
                </a:lnTo>
                <a:lnTo>
                  <a:pt x="1923" y="1891"/>
                </a:lnTo>
                <a:lnTo>
                  <a:pt x="1929" y="1880"/>
                </a:lnTo>
                <a:lnTo>
                  <a:pt x="1935" y="1870"/>
                </a:lnTo>
                <a:lnTo>
                  <a:pt x="1938" y="1860"/>
                </a:lnTo>
                <a:lnTo>
                  <a:pt x="1941" y="1848"/>
                </a:lnTo>
                <a:lnTo>
                  <a:pt x="1943" y="1836"/>
                </a:lnTo>
                <a:lnTo>
                  <a:pt x="1943" y="1824"/>
                </a:lnTo>
                <a:lnTo>
                  <a:pt x="1943" y="1824"/>
                </a:lnTo>
                <a:lnTo>
                  <a:pt x="1943" y="1812"/>
                </a:lnTo>
                <a:lnTo>
                  <a:pt x="1941" y="1800"/>
                </a:lnTo>
                <a:lnTo>
                  <a:pt x="1938" y="1788"/>
                </a:lnTo>
                <a:lnTo>
                  <a:pt x="1935" y="1776"/>
                </a:lnTo>
                <a:lnTo>
                  <a:pt x="1929" y="1765"/>
                </a:lnTo>
                <a:lnTo>
                  <a:pt x="1923" y="1755"/>
                </a:lnTo>
                <a:lnTo>
                  <a:pt x="1916" y="1746"/>
                </a:lnTo>
                <a:lnTo>
                  <a:pt x="1909" y="1738"/>
                </a:lnTo>
                <a:lnTo>
                  <a:pt x="1900" y="1731"/>
                </a:lnTo>
                <a:lnTo>
                  <a:pt x="1890" y="1722"/>
                </a:lnTo>
                <a:lnTo>
                  <a:pt x="1880" y="1717"/>
                </a:lnTo>
                <a:lnTo>
                  <a:pt x="1869" y="1712"/>
                </a:lnTo>
                <a:lnTo>
                  <a:pt x="1859" y="1709"/>
                </a:lnTo>
                <a:lnTo>
                  <a:pt x="1847" y="1705"/>
                </a:lnTo>
                <a:lnTo>
                  <a:pt x="1835" y="1703"/>
                </a:lnTo>
                <a:lnTo>
                  <a:pt x="1823" y="1702"/>
                </a:lnTo>
                <a:lnTo>
                  <a:pt x="1823" y="1702"/>
                </a:lnTo>
                <a:close/>
              </a:path>
            </a:pathLst>
          </a:custGeom>
          <a:solidFill>
            <a:srgbClr val="00000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 name="MSIPCMContentMarking" descr="{&quot;HashCode&quot;:-1152231536,&quot;Placement&quot;:&quot;Footer&quot;}">
            <a:extLst>
              <a:ext uri="{FF2B5EF4-FFF2-40B4-BE49-F238E27FC236}">
                <a16:creationId xmlns:a16="http://schemas.microsoft.com/office/drawing/2014/main" id="{7849DD17-F4B0-4BE0-B3FD-FE46A05A5D62}"/>
              </a:ext>
            </a:extLst>
          </p:cNvPr>
          <p:cNvSpPr txBox="1"/>
          <p:nvPr userDrawn="1"/>
        </p:nvSpPr>
        <p:spPr>
          <a:xfrm>
            <a:off x="4173413" y="6595656"/>
            <a:ext cx="1559175" cy="262344"/>
          </a:xfrm>
          <a:prstGeom prst="rect">
            <a:avLst/>
          </a:prstGeom>
          <a:noFill/>
        </p:spPr>
        <p:txBody>
          <a:bodyPr vert="horz" wrap="square" lIns="0" tIns="0" rIns="0" bIns="0" rtlCol="0" anchor="ctr" anchorCtr="1">
            <a:noAutofit/>
          </a:bodyPr>
          <a:lstStyle/>
          <a:p>
            <a:pPr algn="ctr">
              <a:spcBef>
                <a:spcPts val="0"/>
              </a:spcBef>
              <a:spcAft>
                <a:spcPts val="0"/>
              </a:spcAft>
            </a:pPr>
            <a:r>
              <a:rPr lang="en-AU" sz="1000">
                <a:solidFill>
                  <a:srgbClr val="000000"/>
                </a:solidFill>
                <a:latin typeface="Calibri" panose="020F0502020204030204" pitchFamily="34" charset="0"/>
                <a:ea typeface="Roboto Light" panose="02000000000000000000" pitchFamily="2" charset="0"/>
              </a:rPr>
              <a:t>Classification: Restricted</a:t>
            </a:r>
          </a:p>
        </p:txBody>
      </p:sp>
    </p:spTree>
    <p:extLst>
      <p:ext uri="{BB962C8B-B14F-4D97-AF65-F5344CB8AC3E}">
        <p14:creationId xmlns:p14="http://schemas.microsoft.com/office/powerpoint/2010/main" val="3381990030"/>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 id="2147483779" r:id="rId15"/>
    <p:sldLayoutId id="2147483780" r:id="rId16"/>
    <p:sldLayoutId id="2147483781" r:id="rId17"/>
  </p:sldLayoutIdLst>
  <p:hf hdr="0" ftr="0" dt="0"/>
  <p:txStyles>
    <p:titleStyle>
      <a:lvl1pPr algn="l" defTabSz="742950" rtl="0" eaLnBrk="1" latinLnBrk="0" hangingPunct="1">
        <a:lnSpc>
          <a:spcPct val="90000"/>
        </a:lnSpc>
        <a:spcBef>
          <a:spcPct val="0"/>
        </a:spcBef>
        <a:buNone/>
        <a:defRPr sz="3575" kern="1200">
          <a:solidFill>
            <a:schemeClr val="tx1"/>
          </a:solidFill>
          <a:latin typeface="Roboto" panose="02000000000000000000" pitchFamily="2" charset="0"/>
          <a:ea typeface="Roboto" panose="02000000000000000000" pitchFamily="2" charset="0"/>
          <a:cs typeface="+mj-cs"/>
        </a:defRPr>
      </a:lvl1pPr>
    </p:titleStyle>
    <p:bodyStyle>
      <a:lvl1pPr marL="185738" indent="-185738" algn="l" defTabSz="742950" rtl="0" eaLnBrk="1" latinLnBrk="0" hangingPunct="1">
        <a:lnSpc>
          <a:spcPct val="90000"/>
        </a:lnSpc>
        <a:spcBef>
          <a:spcPts val="813"/>
        </a:spcBef>
        <a:buFont typeface="Arial" panose="020B0604020202020204" pitchFamily="34" charset="0"/>
        <a:buChar char="•"/>
        <a:defRPr sz="2275" kern="1200">
          <a:solidFill>
            <a:schemeClr val="tx1"/>
          </a:solidFill>
          <a:latin typeface="Roboto" panose="02000000000000000000" pitchFamily="2" charset="0"/>
          <a:ea typeface="Roboto" panose="02000000000000000000" pitchFamily="2" charset="0"/>
          <a:cs typeface="+mn-cs"/>
        </a:defRPr>
      </a:lvl1pPr>
      <a:lvl2pPr marL="557213" indent="-185738" algn="l" defTabSz="742950" rtl="0" eaLnBrk="1" latinLnBrk="0" hangingPunct="1">
        <a:lnSpc>
          <a:spcPct val="90000"/>
        </a:lnSpc>
        <a:spcBef>
          <a:spcPts val="406"/>
        </a:spcBef>
        <a:buFont typeface="Arial" panose="020B0604020202020204" pitchFamily="34" charset="0"/>
        <a:buChar char="•"/>
        <a:defRPr sz="1950" kern="1200">
          <a:solidFill>
            <a:schemeClr val="tx1"/>
          </a:solidFill>
          <a:latin typeface="Roboto" panose="02000000000000000000" pitchFamily="2" charset="0"/>
          <a:ea typeface="Roboto" panose="02000000000000000000" pitchFamily="2" charset="0"/>
          <a:cs typeface="+mn-cs"/>
        </a:defRPr>
      </a:lvl2pPr>
      <a:lvl3pPr marL="928688" indent="-185738" algn="l" defTabSz="742950" rtl="0" eaLnBrk="1" latinLnBrk="0" hangingPunct="1">
        <a:lnSpc>
          <a:spcPct val="90000"/>
        </a:lnSpc>
        <a:spcBef>
          <a:spcPts val="406"/>
        </a:spcBef>
        <a:buFont typeface="Arial" panose="020B0604020202020204" pitchFamily="34" charset="0"/>
        <a:buChar char="•"/>
        <a:defRPr sz="1625" kern="1200">
          <a:solidFill>
            <a:schemeClr val="tx1"/>
          </a:solidFill>
          <a:latin typeface="Roboto" panose="02000000000000000000" pitchFamily="2" charset="0"/>
          <a:ea typeface="Roboto" panose="02000000000000000000" pitchFamily="2" charset="0"/>
          <a:cs typeface="+mn-cs"/>
        </a:defRPr>
      </a:lvl3pPr>
      <a:lvl4pPr marL="13001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Roboto" panose="02000000000000000000" pitchFamily="2" charset="0"/>
          <a:ea typeface="Roboto" panose="02000000000000000000" pitchFamily="2" charset="0"/>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Roboto" panose="02000000000000000000" pitchFamily="2" charset="0"/>
          <a:ea typeface="Roboto" panose="02000000000000000000" pitchFamily="2" charset="0"/>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en-US"/>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3" pos="899">
          <p15:clr>
            <a:srgbClr val="F26B43"/>
          </p15:clr>
        </p15:guide>
        <p15:guide id="4" pos="1260">
          <p15:clr>
            <a:srgbClr val="F26B43"/>
          </p15:clr>
        </p15:guide>
        <p15:guide id="5" pos="982">
          <p15:clr>
            <a:srgbClr val="F26B43"/>
          </p15:clr>
        </p15:guide>
        <p15:guide id="6" pos="1345">
          <p15:clr>
            <a:srgbClr val="F26B43"/>
          </p15:clr>
        </p15:guide>
        <p15:guide id="7" pos="1626">
          <p15:clr>
            <a:srgbClr val="F26B43"/>
          </p15:clr>
        </p15:guide>
        <p15:guide id="8" pos="1710">
          <p15:clr>
            <a:srgbClr val="F26B43"/>
          </p15:clr>
        </p15:guide>
        <p15:guide id="9" pos="1987">
          <p15:clr>
            <a:srgbClr val="F26B43"/>
          </p15:clr>
        </p15:guide>
        <p15:guide id="10" pos="2071">
          <p15:clr>
            <a:srgbClr val="F26B43"/>
          </p15:clr>
        </p15:guide>
        <p15:guide id="11" pos="2351">
          <p15:clr>
            <a:srgbClr val="F26B43"/>
          </p15:clr>
        </p15:guide>
        <p15:guide id="12" pos="2435">
          <p15:clr>
            <a:srgbClr val="F26B43"/>
          </p15:clr>
        </p15:guide>
        <p15:guide id="13" pos="2712">
          <p15:clr>
            <a:srgbClr val="F26B43"/>
          </p15:clr>
        </p15:guide>
        <p15:guide id="14" pos="2797">
          <p15:clr>
            <a:srgbClr val="F26B43"/>
          </p15:clr>
        </p15:guide>
        <p15:guide id="15" pos="3078">
          <p15:clr>
            <a:srgbClr val="F26B43"/>
          </p15:clr>
        </p15:guide>
        <p15:guide id="16" pos="3161">
          <p15:clr>
            <a:srgbClr val="F26B43"/>
          </p15:clr>
        </p15:guide>
        <p15:guide id="17" pos="3439">
          <p15:clr>
            <a:srgbClr val="F26B43"/>
          </p15:clr>
        </p15:guide>
        <p15:guide id="18" pos="3522">
          <p15:clr>
            <a:srgbClr val="F26B43"/>
          </p15:clr>
        </p15:guide>
        <p15:guide id="19" pos="3799">
          <p15:clr>
            <a:srgbClr val="F26B43"/>
          </p15:clr>
        </p15:guide>
        <p15:guide id="20" pos="3883">
          <p15:clr>
            <a:srgbClr val="F26B43"/>
          </p15:clr>
        </p15:guide>
        <p15:guide id="21" pos="4165">
          <p15:clr>
            <a:srgbClr val="F26B43"/>
          </p15:clr>
        </p15:guide>
        <p15:guide id="22" pos="4248">
          <p15:clr>
            <a:srgbClr val="F26B43"/>
          </p15:clr>
        </p15:guide>
        <p15:guide id="23" pos="4526">
          <p15:clr>
            <a:srgbClr val="F26B43"/>
          </p15:clr>
        </p15:guide>
        <p15:guide id="24" pos="4609">
          <p15:clr>
            <a:srgbClr val="F26B43"/>
          </p15:clr>
        </p15:guide>
        <p15:guide id="25" pos="4890">
          <p15:clr>
            <a:srgbClr val="F26B43"/>
          </p15:clr>
        </p15:guide>
        <p15:guide id="26" pos="4974">
          <p15:clr>
            <a:srgbClr val="F26B43"/>
          </p15:clr>
        </p15:guide>
        <p15:guide id="27" pos="5250">
          <p15:clr>
            <a:srgbClr val="F26B43"/>
          </p15:clr>
        </p15:guide>
        <p15:guide id="28" pos="5335">
          <p15:clr>
            <a:srgbClr val="F26B43"/>
          </p15:clr>
        </p15:guide>
        <p15:guide id="29" pos="5616">
          <p15:clr>
            <a:srgbClr val="F26B43"/>
          </p15:clr>
        </p15:guide>
        <p15:guide id="30" pos="5701">
          <p15:clr>
            <a:srgbClr val="F26B43"/>
          </p15:clr>
        </p15:guide>
        <p15:guide id="31" pos="5977">
          <p15:clr>
            <a:srgbClr val="5ACBF0"/>
          </p15:clr>
        </p15:guide>
        <p15:guide id="33" orient="horz" pos="3793">
          <p15:clr>
            <a:srgbClr val="5ACBF0"/>
          </p15:clr>
        </p15:guide>
        <p15:guide id="34" orient="horz" pos="315">
          <p15:clr>
            <a:srgbClr val="5ACBF0"/>
          </p15:clr>
        </p15:guide>
        <p15:guide id="35" pos="618">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4.emf"/></Relationships>
</file>

<file path=ppt/slides/_rels/slide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5.xml"/><Relationship Id="rId7" Type="http://schemas.openxmlformats.org/officeDocument/2006/relationships/image" Target="../media/image6.jpe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6.xml"/><Relationship Id="rId5" Type="http://schemas.openxmlformats.org/officeDocument/2006/relationships/image" Target="../media/image11.svg"/><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E654240-D6FD-4D04-84B4-DF195B868C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AE654240-D6FD-4D04-84B4-DF195B868C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201FE32-F9D0-46CC-8953-6F84751CCC9C}"/>
              </a:ext>
            </a:extLst>
          </p:cNvPr>
          <p:cNvSpPr>
            <a:spLocks noGrp="1"/>
          </p:cNvSpPr>
          <p:nvPr>
            <p:ph type="ctrTitle"/>
          </p:nvPr>
        </p:nvSpPr>
        <p:spPr>
          <a:xfrm>
            <a:off x="985442" y="1537494"/>
            <a:ext cx="3725103" cy="2387600"/>
          </a:xfrm>
        </p:spPr>
        <p:txBody>
          <a:bodyPr vert="horz" lIns="0" tIns="45720" rIns="91440" bIns="45720" anchor="b">
            <a:noAutofit/>
          </a:bodyPr>
          <a:lstStyle/>
          <a:p>
            <a:r>
              <a:rPr lang="en-AU" dirty="0">
                <a:latin typeface="Roboto Medium"/>
                <a:ea typeface="Roboto Medium"/>
              </a:rPr>
              <a:t>2023 Quantium Problem Solving Challenge</a:t>
            </a:r>
            <a:endParaRPr lang="en-AU" dirty="0"/>
          </a:p>
        </p:txBody>
      </p:sp>
      <p:sp>
        <p:nvSpPr>
          <p:cNvPr id="5" name="Text Placeholder 4">
            <a:extLst>
              <a:ext uri="{FF2B5EF4-FFF2-40B4-BE49-F238E27FC236}">
                <a16:creationId xmlns:a16="http://schemas.microsoft.com/office/drawing/2014/main" id="{D64EAAF9-453B-4211-8B7D-B24E17F0DCCB}"/>
              </a:ext>
            </a:extLst>
          </p:cNvPr>
          <p:cNvSpPr>
            <a:spLocks noGrp="1"/>
          </p:cNvSpPr>
          <p:nvPr>
            <p:ph type="body" sz="quarter" idx="10"/>
          </p:nvPr>
        </p:nvSpPr>
        <p:spPr/>
        <p:txBody>
          <a:bodyPr/>
          <a:lstStyle/>
          <a:p>
            <a:r>
              <a:rPr lang="en-AU" dirty="0"/>
              <a:t>03/10/2022</a:t>
            </a:r>
          </a:p>
        </p:txBody>
      </p:sp>
      <p:sp>
        <p:nvSpPr>
          <p:cNvPr id="14" name="Text Placeholder 13">
            <a:extLst>
              <a:ext uri="{FF2B5EF4-FFF2-40B4-BE49-F238E27FC236}">
                <a16:creationId xmlns:a16="http://schemas.microsoft.com/office/drawing/2014/main" id="{9B4BF764-3804-4116-AF76-518E95B61925}"/>
              </a:ext>
            </a:extLst>
          </p:cNvPr>
          <p:cNvSpPr>
            <a:spLocks noGrp="1"/>
          </p:cNvSpPr>
          <p:nvPr>
            <p:ph type="body" sz="quarter" idx="12"/>
          </p:nvPr>
        </p:nvSpPr>
        <p:spPr>
          <a:xfrm>
            <a:off x="2640310" y="6159821"/>
            <a:ext cx="2312690" cy="453429"/>
          </a:xfrm>
        </p:spPr>
        <p:txBody>
          <a:bodyPr/>
          <a:lstStyle/>
          <a:p>
            <a:r>
              <a:rPr lang="en-AU" sz="1600" dirty="0"/>
              <a:t>UNSW Actuarial Society</a:t>
            </a:r>
          </a:p>
        </p:txBody>
      </p:sp>
      <p:sp>
        <p:nvSpPr>
          <p:cNvPr id="3" name="Rectangle 2">
            <a:extLst>
              <a:ext uri="{FF2B5EF4-FFF2-40B4-BE49-F238E27FC236}">
                <a16:creationId xmlns:a16="http://schemas.microsoft.com/office/drawing/2014/main" id="{3ADACDE9-CFA7-4968-98DD-EE6E5A01BE5D}"/>
              </a:ext>
            </a:extLst>
          </p:cNvPr>
          <p:cNvSpPr/>
          <p:nvPr/>
        </p:nvSpPr>
        <p:spPr>
          <a:xfrm>
            <a:off x="4305499" y="6557818"/>
            <a:ext cx="1365628" cy="3001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err="1">
              <a:solidFill>
                <a:srgbClr val="000005"/>
              </a:solidFill>
              <a:latin typeface="Roboto Light" panose="02000000000000000000" pitchFamily="2" charset="0"/>
              <a:ea typeface="Roboto Light" panose="02000000000000000000" pitchFamily="2" charset="0"/>
            </a:endParaRPr>
          </a:p>
        </p:txBody>
      </p:sp>
    </p:spTree>
    <p:extLst>
      <p:ext uri="{BB962C8B-B14F-4D97-AF65-F5344CB8AC3E}">
        <p14:creationId xmlns:p14="http://schemas.microsoft.com/office/powerpoint/2010/main" val="38603580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E22751CF-335A-43FF-A645-3FBBD3B584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18" name="Object 17" hidden="1">
                        <a:extLst>
                          <a:ext uri="{FF2B5EF4-FFF2-40B4-BE49-F238E27FC236}">
                            <a16:creationId xmlns:a16="http://schemas.microsoft.com/office/drawing/2014/main" id="{E22751CF-335A-43FF-A645-3FBBD3B584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507E197-FA4A-490D-8711-F5D0771427F1}"/>
              </a:ext>
            </a:extLst>
          </p:cNvPr>
          <p:cNvSpPr/>
          <p:nvPr>
            <p:custDataLst>
              <p:tags r:id="rId2"/>
            </p:custDataLst>
          </p:nvPr>
        </p:nvSpPr>
        <p:spPr>
          <a:xfrm>
            <a:off x="0" y="0"/>
            <a:ext cx="158750" cy="158750"/>
          </a:xfrm>
          <a:prstGeom prst="rect">
            <a:avLst/>
          </a:prstGeom>
          <a:solidFill>
            <a:srgbClr val="ECE8E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srgbClr val="000005"/>
              </a:solidFill>
              <a:effectLst/>
              <a:uLnTx/>
              <a:uFillTx/>
              <a:latin typeface="Roboto Light"/>
              <a:ea typeface="+mn-ea"/>
              <a:cs typeface="+mn-cs"/>
              <a:sym typeface="+mn-lt"/>
            </a:endParaRPr>
          </a:p>
        </p:txBody>
      </p:sp>
      <p:sp>
        <p:nvSpPr>
          <p:cNvPr id="25" name="Rectangle 24" hidden="1">
            <a:extLst>
              <a:ext uri="{FF2B5EF4-FFF2-40B4-BE49-F238E27FC236}">
                <a16:creationId xmlns:a16="http://schemas.microsoft.com/office/drawing/2014/main" id="{38562081-2262-4C3A-8927-8005F58E501E}"/>
              </a:ext>
            </a:extLst>
          </p:cNvPr>
          <p:cNvSpPr/>
          <p:nvPr/>
        </p:nvSpPr>
        <p:spPr>
          <a:xfrm>
            <a:off x="0" y="0"/>
            <a:ext cx="158750" cy="158750"/>
          </a:xfrm>
          <a:prstGeom prst="rect">
            <a:avLst/>
          </a:prstGeom>
          <a:solidFill>
            <a:srgbClr val="ECE8E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srgbClr val="000005"/>
              </a:solidFill>
              <a:effectLst/>
              <a:uLnTx/>
              <a:uFillTx/>
              <a:latin typeface="Roboto Light"/>
              <a:ea typeface="+mn-ea"/>
              <a:cs typeface="+mn-cs"/>
            </a:endParaRPr>
          </a:p>
        </p:txBody>
      </p:sp>
      <p:sp>
        <p:nvSpPr>
          <p:cNvPr id="33" name="Content Placeholder 6">
            <a:extLst>
              <a:ext uri="{FF2B5EF4-FFF2-40B4-BE49-F238E27FC236}">
                <a16:creationId xmlns:a16="http://schemas.microsoft.com/office/drawing/2014/main" id="{3686090E-02C7-43F7-8D1D-4FE7C651F612}"/>
              </a:ext>
            </a:extLst>
          </p:cNvPr>
          <p:cNvSpPr txBox="1">
            <a:spLocks/>
          </p:cNvSpPr>
          <p:nvPr/>
        </p:nvSpPr>
        <p:spPr>
          <a:xfrm>
            <a:off x="912153" y="474939"/>
            <a:ext cx="8515548" cy="823911"/>
          </a:xfrm>
          <a:prstGeom prst="rect">
            <a:avLst/>
          </a:prstGeom>
        </p:spPr>
        <p:txBody>
          <a:bodyPr/>
          <a:lstStyle>
            <a:lvl1pPr marL="185738" indent="-185738" algn="l" defTabSz="742950" rtl="0" eaLnBrk="1" latinLnBrk="0" hangingPunct="1">
              <a:lnSpc>
                <a:spcPct val="90000"/>
              </a:lnSpc>
              <a:spcBef>
                <a:spcPts val="813"/>
              </a:spcBef>
              <a:buFont typeface="Arial" panose="020B0604020202020204" pitchFamily="34" charset="0"/>
              <a:buChar char="•"/>
              <a:defRPr sz="2275" kern="1200">
                <a:solidFill>
                  <a:schemeClr val="tx1"/>
                </a:solidFill>
                <a:latin typeface="Roboto" panose="02000000000000000000" pitchFamily="2" charset="0"/>
                <a:ea typeface="Roboto" panose="02000000000000000000" pitchFamily="2" charset="0"/>
                <a:cs typeface="+mn-cs"/>
              </a:defRPr>
            </a:lvl1pPr>
            <a:lvl2pPr marL="557213" indent="-185738" algn="l" defTabSz="742950" rtl="0" eaLnBrk="1" latinLnBrk="0" hangingPunct="1">
              <a:lnSpc>
                <a:spcPct val="90000"/>
              </a:lnSpc>
              <a:spcBef>
                <a:spcPts val="406"/>
              </a:spcBef>
              <a:buFont typeface="Arial" panose="020B0604020202020204" pitchFamily="34" charset="0"/>
              <a:buChar char="•"/>
              <a:defRPr sz="1950" kern="1200">
                <a:solidFill>
                  <a:schemeClr val="tx1"/>
                </a:solidFill>
                <a:latin typeface="Roboto" panose="02000000000000000000" pitchFamily="2" charset="0"/>
                <a:ea typeface="Roboto" panose="02000000000000000000" pitchFamily="2" charset="0"/>
                <a:cs typeface="+mn-cs"/>
              </a:defRPr>
            </a:lvl2pPr>
            <a:lvl3pPr marL="928688" indent="-185738" algn="l" defTabSz="742950" rtl="0" eaLnBrk="1" latinLnBrk="0" hangingPunct="1">
              <a:lnSpc>
                <a:spcPct val="90000"/>
              </a:lnSpc>
              <a:spcBef>
                <a:spcPts val="406"/>
              </a:spcBef>
              <a:buFont typeface="Arial" panose="020B0604020202020204" pitchFamily="34" charset="0"/>
              <a:buChar char="•"/>
              <a:defRPr sz="1625" kern="1200">
                <a:solidFill>
                  <a:schemeClr val="tx1"/>
                </a:solidFill>
                <a:latin typeface="Roboto" panose="02000000000000000000" pitchFamily="2" charset="0"/>
                <a:ea typeface="Roboto" panose="02000000000000000000" pitchFamily="2" charset="0"/>
                <a:cs typeface="+mn-cs"/>
              </a:defRPr>
            </a:lvl3pPr>
            <a:lvl4pPr marL="13001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Roboto" panose="02000000000000000000" pitchFamily="2" charset="0"/>
                <a:ea typeface="Roboto" panose="02000000000000000000" pitchFamily="2" charset="0"/>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Roboto" panose="02000000000000000000" pitchFamily="2" charset="0"/>
                <a:ea typeface="Roboto" panose="02000000000000000000" pitchFamily="2" charset="0"/>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marL="0" indent="0">
              <a:buNone/>
            </a:pPr>
            <a:r>
              <a:rPr lang="en-AU" dirty="0"/>
              <a:t>Background: RiskyLending</a:t>
            </a:r>
          </a:p>
        </p:txBody>
      </p:sp>
      <p:sp>
        <p:nvSpPr>
          <p:cNvPr id="13" name="Rectangle 12">
            <a:extLst>
              <a:ext uri="{FF2B5EF4-FFF2-40B4-BE49-F238E27FC236}">
                <a16:creationId xmlns:a16="http://schemas.microsoft.com/office/drawing/2014/main" id="{EF2E780C-CC58-4C00-8009-3A7BBF8D2844}"/>
              </a:ext>
            </a:extLst>
          </p:cNvPr>
          <p:cNvSpPr/>
          <p:nvPr/>
        </p:nvSpPr>
        <p:spPr>
          <a:xfrm>
            <a:off x="963843" y="1479365"/>
            <a:ext cx="6271070" cy="1743624"/>
          </a:xfrm>
          <a:prstGeom prst="rect">
            <a:avLst/>
          </a:prstGeom>
          <a:solidFill>
            <a:srgbClr val="D9E1EF"/>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spcAft>
                <a:spcPts val="1200"/>
              </a:spcAft>
            </a:pPr>
            <a:r>
              <a:rPr lang="en-AU" sz="1400" b="0" dirty="0">
                <a:solidFill>
                  <a:srgbClr val="000000"/>
                </a:solidFill>
              </a:rPr>
              <a:t>RiskyLending Pty Ltd is a broker who specialises in home loans.</a:t>
            </a:r>
            <a:endParaRPr lang="en-US" sz="1400" b="0" dirty="0">
              <a:solidFill>
                <a:srgbClr val="000000"/>
              </a:solidFill>
            </a:endParaRPr>
          </a:p>
          <a:p>
            <a:pPr>
              <a:spcAft>
                <a:spcPts val="1200"/>
              </a:spcAft>
            </a:pPr>
            <a:r>
              <a:rPr lang="en-US" sz="1400" b="0" dirty="0">
                <a:solidFill>
                  <a:srgbClr val="000000"/>
                </a:solidFill>
              </a:rPr>
              <a:t>RiskyLending has a commission-based arrangement with a major bank, </a:t>
            </a:r>
            <a:r>
              <a:rPr lang="en-US" sz="1400" b="0" dirty="0" err="1">
                <a:solidFill>
                  <a:srgbClr val="000000"/>
                </a:solidFill>
              </a:rPr>
              <a:t>ConnBank</a:t>
            </a:r>
            <a:r>
              <a:rPr lang="en-US" sz="1400" b="0" dirty="0">
                <a:solidFill>
                  <a:srgbClr val="000000"/>
                </a:solidFill>
              </a:rPr>
              <a:t>, who writes all the loans sold.</a:t>
            </a:r>
          </a:p>
          <a:p>
            <a:pPr>
              <a:spcAft>
                <a:spcPts val="1200"/>
              </a:spcAft>
            </a:pPr>
            <a:r>
              <a:rPr lang="en-AU" sz="1400" dirty="0">
                <a:solidFill>
                  <a:srgbClr val="000000"/>
                </a:solidFill>
              </a:rPr>
              <a:t>For the past 3 years, the bank has agreed to a commission rate of 4% of the loan value</a:t>
            </a:r>
            <a:r>
              <a:rPr lang="en-AU" sz="1400" baseline="30000" dirty="0">
                <a:solidFill>
                  <a:srgbClr val="000000"/>
                </a:solidFill>
              </a:rPr>
              <a:t>1</a:t>
            </a:r>
            <a:r>
              <a:rPr lang="en-AU" sz="1400" dirty="0">
                <a:solidFill>
                  <a:srgbClr val="000000"/>
                </a:solidFill>
              </a:rPr>
              <a:t> on all loans which avoid clawback</a:t>
            </a:r>
            <a:r>
              <a:rPr lang="en-AU" sz="1400" baseline="30000" dirty="0">
                <a:solidFill>
                  <a:srgbClr val="000000"/>
                </a:solidFill>
              </a:rPr>
              <a:t>2</a:t>
            </a:r>
            <a:r>
              <a:rPr lang="en-AU" sz="1400" dirty="0">
                <a:solidFill>
                  <a:srgbClr val="000000"/>
                </a:solidFill>
              </a:rPr>
              <a:t> in the first 12 months.</a:t>
            </a:r>
          </a:p>
        </p:txBody>
      </p:sp>
      <p:grpSp>
        <p:nvGrpSpPr>
          <p:cNvPr id="8" name="Group 7">
            <a:extLst>
              <a:ext uri="{FF2B5EF4-FFF2-40B4-BE49-F238E27FC236}">
                <a16:creationId xmlns:a16="http://schemas.microsoft.com/office/drawing/2014/main" id="{F245ABF2-EC54-4770-8B40-A9C8FE28DC4F}"/>
              </a:ext>
            </a:extLst>
          </p:cNvPr>
          <p:cNvGrpSpPr/>
          <p:nvPr/>
        </p:nvGrpSpPr>
        <p:grpSpPr>
          <a:xfrm>
            <a:off x="7503843" y="1028798"/>
            <a:ext cx="1658023" cy="1105502"/>
            <a:chOff x="1535579" y="4701578"/>
            <a:chExt cx="1658023" cy="1105502"/>
          </a:xfrm>
        </p:grpSpPr>
        <p:pic>
          <p:nvPicPr>
            <p:cNvPr id="1026" name="Picture 2" descr="✓ rl logo free vector eps, cdr, ai, svg vector illustration graphic art">
              <a:extLst>
                <a:ext uri="{FF2B5EF4-FFF2-40B4-BE49-F238E27FC236}">
                  <a16:creationId xmlns:a16="http://schemas.microsoft.com/office/drawing/2014/main" id="{DFAA0DEB-20EB-44C0-8D1B-19F6C72F0AD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5526" t="33684" r="15526" b="32895"/>
            <a:stretch/>
          </p:blipFill>
          <p:spPr bwMode="auto">
            <a:xfrm>
              <a:off x="1535579" y="4701578"/>
              <a:ext cx="1654928" cy="802197"/>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1B48B5D1-BEF2-49CB-B7F3-D0C5E9093A6C}"/>
                </a:ext>
              </a:extLst>
            </p:cNvPr>
            <p:cNvSpPr/>
            <p:nvPr/>
          </p:nvSpPr>
          <p:spPr>
            <a:xfrm>
              <a:off x="1536252" y="5407030"/>
              <a:ext cx="1657350" cy="4000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dirty="0">
                  <a:solidFill>
                    <a:srgbClr val="06385E"/>
                  </a:solidFill>
                  <a:latin typeface="Perpetua" panose="020B0604020202020204" pitchFamily="18" charset="0"/>
                  <a:ea typeface="Roboto Light" panose="02000000000000000000" pitchFamily="2" charset="0"/>
                </a:rPr>
                <a:t>home loans</a:t>
              </a:r>
            </a:p>
          </p:txBody>
        </p:sp>
      </p:grpSp>
      <p:sp>
        <p:nvSpPr>
          <p:cNvPr id="21" name="Rectangle 20">
            <a:extLst>
              <a:ext uri="{FF2B5EF4-FFF2-40B4-BE49-F238E27FC236}">
                <a16:creationId xmlns:a16="http://schemas.microsoft.com/office/drawing/2014/main" id="{06450A42-7C35-4E4D-86EE-EBBCB77408AE}"/>
              </a:ext>
            </a:extLst>
          </p:cNvPr>
          <p:cNvSpPr/>
          <p:nvPr/>
        </p:nvSpPr>
        <p:spPr>
          <a:xfrm>
            <a:off x="912153" y="3755691"/>
            <a:ext cx="6567693" cy="2945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spcAft>
                <a:spcPts val="600"/>
              </a:spcAft>
            </a:pPr>
            <a:r>
              <a:rPr lang="en-AU" sz="1400" b="0">
                <a:solidFill>
                  <a:srgbClr val="000000"/>
                </a:solidFill>
                <a:latin typeface="Roboto" panose="02000000000000000000" pitchFamily="2" charset="0"/>
                <a:ea typeface="Roboto" panose="02000000000000000000" pitchFamily="2" charset="0"/>
                <a:cs typeface="Roboto" panose="02000000000000000000" pitchFamily="2" charset="0"/>
              </a:rPr>
              <a:t>Loan process:</a:t>
            </a:r>
          </a:p>
        </p:txBody>
      </p:sp>
      <p:sp>
        <p:nvSpPr>
          <p:cNvPr id="11" name="Rectangle 10">
            <a:extLst>
              <a:ext uri="{FF2B5EF4-FFF2-40B4-BE49-F238E27FC236}">
                <a16:creationId xmlns:a16="http://schemas.microsoft.com/office/drawing/2014/main" id="{E0158276-B34A-4119-996D-6FADFBCABA0B}"/>
              </a:ext>
            </a:extLst>
          </p:cNvPr>
          <p:cNvSpPr/>
          <p:nvPr/>
        </p:nvSpPr>
        <p:spPr>
          <a:xfrm>
            <a:off x="966939" y="4473493"/>
            <a:ext cx="2477039" cy="1116242"/>
          </a:xfrm>
          <a:prstGeom prst="rect">
            <a:avLst/>
          </a:prstGeom>
          <a:solidFill>
            <a:srgbClr val="DAF0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AU" sz="1400">
                <a:solidFill>
                  <a:srgbClr val="000005"/>
                </a:solidFill>
                <a:latin typeface="Roboto" panose="02000000000000000000" pitchFamily="2" charset="0"/>
                <a:ea typeface="Roboto" panose="02000000000000000000" pitchFamily="2" charset="0"/>
                <a:cs typeface="Roboto" panose="02000000000000000000" pitchFamily="2" charset="0"/>
              </a:rPr>
              <a:t>Application</a:t>
            </a:r>
          </a:p>
          <a:p>
            <a:pPr algn="ctr">
              <a:spcAft>
                <a:spcPts val="600"/>
              </a:spcAft>
            </a:pPr>
            <a:r>
              <a:rPr lang="en-AU" sz="1400">
                <a:solidFill>
                  <a:srgbClr val="000005"/>
                </a:solidFill>
                <a:latin typeface="Roboto Light" panose="02000000000000000000" pitchFamily="2" charset="0"/>
                <a:ea typeface="Roboto Light" panose="02000000000000000000" pitchFamily="2" charset="0"/>
              </a:rPr>
              <a:t>Customers approach broker and start a loan application with the bank</a:t>
            </a:r>
          </a:p>
        </p:txBody>
      </p:sp>
      <p:sp>
        <p:nvSpPr>
          <p:cNvPr id="26" name="Rectangle 25">
            <a:extLst>
              <a:ext uri="{FF2B5EF4-FFF2-40B4-BE49-F238E27FC236}">
                <a16:creationId xmlns:a16="http://schemas.microsoft.com/office/drawing/2014/main" id="{85F9B88E-FC33-4CD3-B5AE-C894DB09FCBB}"/>
              </a:ext>
            </a:extLst>
          </p:cNvPr>
          <p:cNvSpPr/>
          <p:nvPr/>
        </p:nvSpPr>
        <p:spPr>
          <a:xfrm>
            <a:off x="3776805" y="4472520"/>
            <a:ext cx="2347367" cy="1116242"/>
          </a:xfrm>
          <a:prstGeom prst="rect">
            <a:avLst/>
          </a:prstGeom>
          <a:solidFill>
            <a:srgbClr val="B4E1E7"/>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spcAft>
                <a:spcPts val="600"/>
              </a:spcAft>
            </a:pPr>
            <a:r>
              <a:rPr lang="en-AU" sz="1400">
                <a:solidFill>
                  <a:srgbClr val="000005"/>
                </a:solidFill>
                <a:latin typeface="Roboto" panose="02000000000000000000" pitchFamily="2" charset="0"/>
                <a:ea typeface="Roboto" panose="02000000000000000000" pitchFamily="2" charset="0"/>
                <a:cs typeface="Roboto" panose="02000000000000000000" pitchFamily="2" charset="0"/>
              </a:rPr>
              <a:t>Account</a:t>
            </a:r>
          </a:p>
          <a:p>
            <a:pPr algn="ctr">
              <a:spcAft>
                <a:spcPts val="600"/>
              </a:spcAft>
            </a:pPr>
            <a:r>
              <a:rPr lang="en-AU" sz="1400">
                <a:solidFill>
                  <a:srgbClr val="000005"/>
                </a:solidFill>
                <a:latin typeface="Roboto Light"/>
                <a:ea typeface="Roboto Light"/>
              </a:rPr>
              <a:t>Accounts are set up and loans are generated</a:t>
            </a:r>
            <a:r>
              <a:rPr lang="en-AU" sz="1400" baseline="30000">
                <a:solidFill>
                  <a:srgbClr val="000005"/>
                </a:solidFill>
                <a:latin typeface="Roboto Light"/>
                <a:ea typeface="Roboto Light"/>
              </a:rPr>
              <a:t>3</a:t>
            </a:r>
            <a:endParaRPr lang="en-AU" sz="1400" baseline="30000">
              <a:solidFill>
                <a:srgbClr val="000005"/>
              </a:solidFill>
              <a:latin typeface="Roboto Light" panose="02000000000000000000" pitchFamily="2" charset="0"/>
              <a:ea typeface="Roboto Light" panose="02000000000000000000" pitchFamily="2" charset="0"/>
            </a:endParaRPr>
          </a:p>
        </p:txBody>
      </p:sp>
      <p:sp>
        <p:nvSpPr>
          <p:cNvPr id="27" name="Rectangle 26">
            <a:extLst>
              <a:ext uri="{FF2B5EF4-FFF2-40B4-BE49-F238E27FC236}">
                <a16:creationId xmlns:a16="http://schemas.microsoft.com/office/drawing/2014/main" id="{D75D5C23-7BC9-49A3-B799-472260FF69B7}"/>
              </a:ext>
            </a:extLst>
          </p:cNvPr>
          <p:cNvSpPr/>
          <p:nvPr/>
        </p:nvSpPr>
        <p:spPr>
          <a:xfrm>
            <a:off x="6616283" y="4055316"/>
            <a:ext cx="2488539" cy="936986"/>
          </a:xfrm>
          <a:prstGeom prst="rect">
            <a:avLst/>
          </a:prstGeom>
          <a:solidFill>
            <a:srgbClr val="7CCBD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spcAft>
                <a:spcPts val="600"/>
              </a:spcAft>
            </a:pPr>
            <a:r>
              <a:rPr lang="en-AU" sz="1400">
                <a:solidFill>
                  <a:srgbClr val="000005"/>
                </a:solidFill>
                <a:latin typeface="Roboto" panose="02000000000000000000" pitchFamily="2" charset="0"/>
                <a:ea typeface="Roboto" panose="02000000000000000000" pitchFamily="2" charset="0"/>
                <a:cs typeface="Roboto" panose="02000000000000000000" pitchFamily="2" charset="0"/>
              </a:rPr>
              <a:t>Loan settlement</a:t>
            </a:r>
          </a:p>
          <a:p>
            <a:pPr algn="ctr">
              <a:spcAft>
                <a:spcPts val="600"/>
              </a:spcAft>
            </a:pPr>
            <a:r>
              <a:rPr lang="en-AU" sz="1400">
                <a:solidFill>
                  <a:srgbClr val="000005"/>
                </a:solidFill>
                <a:latin typeface="Roboto Light"/>
                <a:ea typeface="Roboto Light"/>
              </a:rPr>
              <a:t>Broker earns commission on account open date.</a:t>
            </a:r>
          </a:p>
        </p:txBody>
      </p:sp>
      <p:sp>
        <p:nvSpPr>
          <p:cNvPr id="28" name="Rectangle 27">
            <a:extLst>
              <a:ext uri="{FF2B5EF4-FFF2-40B4-BE49-F238E27FC236}">
                <a16:creationId xmlns:a16="http://schemas.microsoft.com/office/drawing/2014/main" id="{67DAB899-0C87-489A-8735-432EE5DADEF0}"/>
              </a:ext>
            </a:extLst>
          </p:cNvPr>
          <p:cNvSpPr/>
          <p:nvPr/>
        </p:nvSpPr>
        <p:spPr>
          <a:xfrm>
            <a:off x="6616284" y="5081930"/>
            <a:ext cx="2488538" cy="936986"/>
          </a:xfrm>
          <a:prstGeom prst="rect">
            <a:avLst/>
          </a:prstGeom>
          <a:solidFill>
            <a:srgbClr val="F4917E"/>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spcAft>
                <a:spcPts val="600"/>
              </a:spcAft>
            </a:pPr>
            <a:r>
              <a:rPr lang="en-AU" sz="1400">
                <a:solidFill>
                  <a:srgbClr val="000005"/>
                </a:solidFill>
                <a:latin typeface="Roboto" panose="02000000000000000000" pitchFamily="2" charset="0"/>
                <a:ea typeface="Roboto" panose="02000000000000000000" pitchFamily="2" charset="0"/>
                <a:cs typeface="Roboto" panose="02000000000000000000" pitchFamily="2" charset="0"/>
              </a:rPr>
              <a:t>Default or refinance</a:t>
            </a:r>
          </a:p>
          <a:p>
            <a:pPr algn="ctr">
              <a:spcAft>
                <a:spcPts val="600"/>
              </a:spcAft>
            </a:pPr>
            <a:r>
              <a:rPr lang="en-AU" sz="1400">
                <a:solidFill>
                  <a:srgbClr val="000005"/>
                </a:solidFill>
                <a:latin typeface="Roboto Light"/>
                <a:ea typeface="Roboto Light"/>
              </a:rPr>
              <a:t>Broker must repay commission if account is closed within 12 months</a:t>
            </a:r>
            <a:r>
              <a:rPr lang="en-AU" sz="1400" baseline="30000">
                <a:solidFill>
                  <a:srgbClr val="000005"/>
                </a:solidFill>
                <a:latin typeface="Roboto Light"/>
                <a:ea typeface="Roboto Light"/>
              </a:rPr>
              <a:t>2</a:t>
            </a:r>
            <a:endParaRPr lang="en-AU" sz="1400">
              <a:solidFill>
                <a:srgbClr val="000005"/>
              </a:solidFill>
              <a:latin typeface="Roboto Light" panose="02000000000000000000" pitchFamily="2" charset="0"/>
              <a:ea typeface="Roboto Light" panose="02000000000000000000" pitchFamily="2" charset="0"/>
            </a:endParaRPr>
          </a:p>
        </p:txBody>
      </p:sp>
      <p:cxnSp>
        <p:nvCxnSpPr>
          <p:cNvPr id="14" name="Straight Arrow Connector 13">
            <a:extLst>
              <a:ext uri="{FF2B5EF4-FFF2-40B4-BE49-F238E27FC236}">
                <a16:creationId xmlns:a16="http://schemas.microsoft.com/office/drawing/2014/main" id="{1F7E31A1-3F5E-44EF-82A7-04504CA665DD}"/>
              </a:ext>
            </a:extLst>
          </p:cNvPr>
          <p:cNvCxnSpPr>
            <a:cxnSpLocks/>
            <a:stCxn id="11" idx="3"/>
            <a:endCxn id="26" idx="1"/>
          </p:cNvCxnSpPr>
          <p:nvPr/>
        </p:nvCxnSpPr>
        <p:spPr>
          <a:xfrm flipV="1">
            <a:off x="3443978" y="5030641"/>
            <a:ext cx="332827" cy="973"/>
          </a:xfrm>
          <a:prstGeom prst="straightConnector1">
            <a:avLst/>
          </a:prstGeom>
          <a:ln w="6350">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FEF26B67-6A17-4F35-A76D-BBC01770A21A}"/>
              </a:ext>
            </a:extLst>
          </p:cNvPr>
          <p:cNvCxnSpPr>
            <a:cxnSpLocks/>
            <a:stCxn id="26" idx="3"/>
            <a:endCxn id="27" idx="1"/>
          </p:cNvCxnSpPr>
          <p:nvPr/>
        </p:nvCxnSpPr>
        <p:spPr>
          <a:xfrm flipV="1">
            <a:off x="6124172" y="4523809"/>
            <a:ext cx="492111" cy="506832"/>
          </a:xfrm>
          <a:prstGeom prst="straightConnector1">
            <a:avLst/>
          </a:prstGeom>
          <a:ln w="6350">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F6B323C8-3C20-4DCB-A91A-3D0F7E3778F5}"/>
              </a:ext>
            </a:extLst>
          </p:cNvPr>
          <p:cNvCxnSpPr>
            <a:cxnSpLocks/>
            <a:stCxn id="26" idx="3"/>
            <a:endCxn id="28" idx="1"/>
          </p:cNvCxnSpPr>
          <p:nvPr/>
        </p:nvCxnSpPr>
        <p:spPr>
          <a:xfrm>
            <a:off x="6124172" y="5030641"/>
            <a:ext cx="492112" cy="519782"/>
          </a:xfrm>
          <a:prstGeom prst="straightConnector1">
            <a:avLst/>
          </a:prstGeom>
          <a:ln w="6350">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BEA5AA4B-8C01-4AC5-8B13-7B1C1C84AE9B}"/>
              </a:ext>
            </a:extLst>
          </p:cNvPr>
          <p:cNvGrpSpPr/>
          <p:nvPr/>
        </p:nvGrpSpPr>
        <p:grpSpPr>
          <a:xfrm>
            <a:off x="7617597" y="2142369"/>
            <a:ext cx="1487225" cy="1345225"/>
            <a:chOff x="7623638" y="2362733"/>
            <a:chExt cx="1487225" cy="1345225"/>
          </a:xfrm>
        </p:grpSpPr>
        <p:grpSp>
          <p:nvGrpSpPr>
            <p:cNvPr id="98" name="Group 97">
              <a:extLst>
                <a:ext uri="{FF2B5EF4-FFF2-40B4-BE49-F238E27FC236}">
                  <a16:creationId xmlns:a16="http://schemas.microsoft.com/office/drawing/2014/main" id="{FB1AADDD-8FC6-484F-A6F7-10A17F581559}"/>
                </a:ext>
              </a:extLst>
            </p:cNvPr>
            <p:cNvGrpSpPr/>
            <p:nvPr/>
          </p:nvGrpSpPr>
          <p:grpSpPr>
            <a:xfrm>
              <a:off x="7623638" y="2362733"/>
              <a:ext cx="1430517" cy="1345225"/>
              <a:chOff x="1143001" y="2095500"/>
              <a:chExt cx="1714088" cy="1611889"/>
            </a:xfrm>
          </p:grpSpPr>
          <p:pic>
            <p:nvPicPr>
              <p:cNvPr id="94" name="Picture 2" descr="Commonwealth Bank">
                <a:extLst>
                  <a:ext uri="{FF2B5EF4-FFF2-40B4-BE49-F238E27FC236}">
                    <a16:creationId xmlns:a16="http://schemas.microsoft.com/office/drawing/2014/main" id="{8AE2A9FA-C6CE-470B-B572-9EEECCD1409B}"/>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r="62781"/>
              <a:stretch/>
            </p:blipFill>
            <p:spPr bwMode="auto">
              <a:xfrm>
                <a:off x="1143001" y="2095500"/>
                <a:ext cx="1714088" cy="1611889"/>
              </a:xfrm>
              <a:prstGeom prst="rect">
                <a:avLst/>
              </a:prstGeom>
              <a:noFill/>
              <a:extLst>
                <a:ext uri="{909E8E84-426E-40DD-AFC4-6F175D3DCCD1}">
                  <a14:hiddenFill xmlns:a14="http://schemas.microsoft.com/office/drawing/2010/main">
                    <a:solidFill>
                      <a:srgbClr val="FFFFFF"/>
                    </a:solidFill>
                  </a14:hiddenFill>
                </a:ext>
              </a:extLst>
            </p:spPr>
          </p:pic>
          <p:sp>
            <p:nvSpPr>
              <p:cNvPr id="99" name="Rectangle 98">
                <a:extLst>
                  <a:ext uri="{FF2B5EF4-FFF2-40B4-BE49-F238E27FC236}">
                    <a16:creationId xmlns:a16="http://schemas.microsoft.com/office/drawing/2014/main" id="{91140BCE-C764-474C-8437-46BF58E6873A}"/>
                  </a:ext>
                </a:extLst>
              </p:cNvPr>
              <p:cNvSpPr/>
              <p:nvPr/>
            </p:nvSpPr>
            <p:spPr>
              <a:xfrm>
                <a:off x="2058686" y="2729589"/>
                <a:ext cx="766611" cy="5360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a:solidFill>
                      <a:srgbClr val="000005"/>
                    </a:solidFill>
                    <a:latin typeface="Roboto Light" panose="02000000000000000000" pitchFamily="2" charset="0"/>
                    <a:ea typeface="Roboto Light" panose="02000000000000000000" pitchFamily="2" charset="0"/>
                  </a:rPr>
                  <a:t>🤭</a:t>
                </a:r>
              </a:p>
            </p:txBody>
          </p:sp>
        </p:grpSp>
        <p:sp>
          <p:nvSpPr>
            <p:cNvPr id="95" name="Rectangle 94">
              <a:extLst>
                <a:ext uri="{FF2B5EF4-FFF2-40B4-BE49-F238E27FC236}">
                  <a16:creationId xmlns:a16="http://schemas.microsoft.com/office/drawing/2014/main" id="{4B51D625-319E-45BE-B70C-59012DC36D40}"/>
                </a:ext>
              </a:extLst>
            </p:cNvPr>
            <p:cNvSpPr/>
            <p:nvPr/>
          </p:nvSpPr>
          <p:spPr>
            <a:xfrm>
              <a:off x="7680346" y="2519117"/>
              <a:ext cx="1430517" cy="4539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000">
                  <a:solidFill>
                    <a:srgbClr val="000005"/>
                  </a:solidFill>
                  <a:latin typeface="Berlin Sans FB Demi" panose="020B0604020202020204" pitchFamily="34" charset="0"/>
                  <a:ea typeface="Roboto Light" panose="02000000000000000000" pitchFamily="2" charset="0"/>
                </a:rPr>
                <a:t>Conn</a:t>
              </a:r>
              <a:r>
                <a:rPr lang="en-AU">
                  <a:solidFill>
                    <a:srgbClr val="000005"/>
                  </a:solidFill>
                  <a:latin typeface="Microsoft New Tai Lue" panose="020B0502040204020203" pitchFamily="34" charset="0"/>
                  <a:ea typeface="Roboto Light" panose="02000000000000000000" pitchFamily="2" charset="0"/>
                  <a:cs typeface="Microsoft New Tai Lue" panose="020B0502040204020203" pitchFamily="34" charset="0"/>
                </a:rPr>
                <a:t>Bank</a:t>
              </a:r>
            </a:p>
          </p:txBody>
        </p:sp>
      </p:grpSp>
      <p:sp>
        <p:nvSpPr>
          <p:cNvPr id="113" name="Rectangle 112">
            <a:extLst>
              <a:ext uri="{FF2B5EF4-FFF2-40B4-BE49-F238E27FC236}">
                <a16:creationId xmlns:a16="http://schemas.microsoft.com/office/drawing/2014/main" id="{0F5E3194-5239-4227-A2CE-B6FBC77E395B}"/>
              </a:ext>
            </a:extLst>
          </p:cNvPr>
          <p:cNvSpPr/>
          <p:nvPr/>
        </p:nvSpPr>
        <p:spPr>
          <a:xfrm>
            <a:off x="4305499" y="6557818"/>
            <a:ext cx="1365628" cy="3001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err="1">
              <a:solidFill>
                <a:srgbClr val="000005"/>
              </a:solidFill>
              <a:latin typeface="Roboto Light" panose="02000000000000000000" pitchFamily="2" charset="0"/>
              <a:ea typeface="Roboto Light" panose="02000000000000000000" pitchFamily="2" charset="0"/>
            </a:endParaRPr>
          </a:p>
        </p:txBody>
      </p:sp>
      <p:sp>
        <p:nvSpPr>
          <p:cNvPr id="4" name="Rectangle 3">
            <a:extLst>
              <a:ext uri="{FF2B5EF4-FFF2-40B4-BE49-F238E27FC236}">
                <a16:creationId xmlns:a16="http://schemas.microsoft.com/office/drawing/2014/main" id="{8A5B9A3E-56CF-4BDA-9C30-FA81A887D119}"/>
              </a:ext>
            </a:extLst>
          </p:cNvPr>
          <p:cNvSpPr/>
          <p:nvPr/>
        </p:nvSpPr>
        <p:spPr>
          <a:xfrm>
            <a:off x="2409600" y="6259117"/>
            <a:ext cx="7492009" cy="4490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AU" sz="900" dirty="0">
                <a:solidFill>
                  <a:srgbClr val="000005"/>
                </a:solidFill>
                <a:latin typeface="Roboto Light" panose="02000000000000000000" pitchFamily="2" charset="0"/>
                <a:ea typeface="Roboto Light" panose="02000000000000000000" pitchFamily="2" charset="0"/>
              </a:rPr>
              <a:t>1 Additional information on commission structure is available in the data dictionary of the dataset provided.</a:t>
            </a:r>
          </a:p>
          <a:p>
            <a:r>
              <a:rPr lang="en-AU" sz="900" dirty="0">
                <a:solidFill>
                  <a:srgbClr val="000005"/>
                </a:solidFill>
                <a:latin typeface="Roboto Light"/>
                <a:ea typeface="Roboto Light"/>
              </a:rPr>
              <a:t>2 Clawback refers to the retrieval of commission from RiskyLending when a loan applicant refinances (takes out the loan with a different bank) or defaults (does not have sufficient funds to pay back the loan at the agreed rate).</a:t>
            </a:r>
          </a:p>
          <a:p>
            <a:r>
              <a:rPr lang="en-AU" sz="900" dirty="0">
                <a:solidFill>
                  <a:srgbClr val="000005"/>
                </a:solidFill>
                <a:latin typeface="Roboto Light"/>
                <a:ea typeface="Roboto Light"/>
              </a:rPr>
              <a:t>3 For loans that did not have a clawback, or have not had a clawback so far, assume accounts are opened 3 weeks from the application date.</a:t>
            </a:r>
            <a:endParaRPr lang="en-AU" sz="900" dirty="0">
              <a:solidFill>
                <a:srgbClr val="000005"/>
              </a:solidFill>
              <a:latin typeface="Roboto Light" panose="02000000000000000000" pitchFamily="2" charset="0"/>
              <a:ea typeface="Roboto Light" panose="02000000000000000000" pitchFamily="2" charset="0"/>
            </a:endParaRPr>
          </a:p>
        </p:txBody>
      </p:sp>
    </p:spTree>
    <p:extLst>
      <p:ext uri="{BB962C8B-B14F-4D97-AF65-F5344CB8AC3E}">
        <p14:creationId xmlns:p14="http://schemas.microsoft.com/office/powerpoint/2010/main" val="7644655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D0B723C4-8F40-411F-8471-6A4C3E5B7E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29" name="Object 28" hidden="1">
                        <a:extLst>
                          <a:ext uri="{FF2B5EF4-FFF2-40B4-BE49-F238E27FC236}">
                            <a16:creationId xmlns:a16="http://schemas.microsoft.com/office/drawing/2014/main" id="{D0B723C4-8F40-411F-8471-6A4C3E5B7EB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Rectangle 18" hidden="1">
            <a:extLst>
              <a:ext uri="{FF2B5EF4-FFF2-40B4-BE49-F238E27FC236}">
                <a16:creationId xmlns:a16="http://schemas.microsoft.com/office/drawing/2014/main" id="{0D28AD5A-959E-493C-8B38-D06E22737EDC}"/>
              </a:ext>
            </a:extLst>
          </p:cNvPr>
          <p:cNvSpPr/>
          <p:nvPr>
            <p:custDataLst>
              <p:tags r:id="rId2"/>
            </p:custDataLst>
          </p:nvPr>
        </p:nvSpPr>
        <p:spPr>
          <a:xfrm>
            <a:off x="0" y="0"/>
            <a:ext cx="158750" cy="158750"/>
          </a:xfrm>
          <a:prstGeom prst="rect">
            <a:avLst/>
          </a:prstGeom>
          <a:solidFill>
            <a:srgbClr val="ECE8E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AU" sz="1400" b="0" i="0" u="none" strike="noStrike" kern="1200" cap="none" spc="0" normalizeH="0" baseline="0" noProof="0">
              <a:ln>
                <a:noFill/>
              </a:ln>
              <a:solidFill>
                <a:srgbClr val="000005"/>
              </a:solidFill>
              <a:effectLst/>
              <a:uLnTx/>
              <a:uFillTx/>
              <a:latin typeface="Roboto Light"/>
              <a:ea typeface="+mn-ea"/>
              <a:cs typeface="+mn-cs"/>
              <a:sym typeface="+mn-lt"/>
            </a:endParaRPr>
          </a:p>
        </p:txBody>
      </p:sp>
      <p:sp>
        <p:nvSpPr>
          <p:cNvPr id="37" name="Content Placeholder 6">
            <a:extLst>
              <a:ext uri="{FF2B5EF4-FFF2-40B4-BE49-F238E27FC236}">
                <a16:creationId xmlns:a16="http://schemas.microsoft.com/office/drawing/2014/main" id="{67AF2160-F01D-4C35-9053-241427D5584D}"/>
              </a:ext>
            </a:extLst>
          </p:cNvPr>
          <p:cNvSpPr txBox="1">
            <a:spLocks/>
          </p:cNvSpPr>
          <p:nvPr/>
        </p:nvSpPr>
        <p:spPr>
          <a:xfrm>
            <a:off x="912153" y="474939"/>
            <a:ext cx="8515548" cy="823911"/>
          </a:xfrm>
          <a:prstGeom prst="rect">
            <a:avLst/>
          </a:prstGeom>
        </p:spPr>
        <p:txBody>
          <a:bodyPr/>
          <a:lstStyle>
            <a:lvl1pPr marL="185738" indent="-185738" algn="l" defTabSz="742950" rtl="0" eaLnBrk="1" latinLnBrk="0" hangingPunct="1">
              <a:lnSpc>
                <a:spcPct val="90000"/>
              </a:lnSpc>
              <a:spcBef>
                <a:spcPts val="813"/>
              </a:spcBef>
              <a:buFont typeface="Arial" panose="020B0604020202020204" pitchFamily="34" charset="0"/>
              <a:buChar char="•"/>
              <a:defRPr sz="2275" kern="1200">
                <a:solidFill>
                  <a:schemeClr val="tx1"/>
                </a:solidFill>
                <a:latin typeface="Roboto" panose="02000000000000000000" pitchFamily="2" charset="0"/>
                <a:ea typeface="Roboto" panose="02000000000000000000" pitchFamily="2" charset="0"/>
                <a:cs typeface="+mn-cs"/>
              </a:defRPr>
            </a:lvl1pPr>
            <a:lvl2pPr marL="557213" indent="-185738" algn="l" defTabSz="742950" rtl="0" eaLnBrk="1" latinLnBrk="0" hangingPunct="1">
              <a:lnSpc>
                <a:spcPct val="90000"/>
              </a:lnSpc>
              <a:spcBef>
                <a:spcPts val="406"/>
              </a:spcBef>
              <a:buFont typeface="Arial" panose="020B0604020202020204" pitchFamily="34" charset="0"/>
              <a:buChar char="•"/>
              <a:defRPr sz="1950" kern="1200">
                <a:solidFill>
                  <a:schemeClr val="tx1"/>
                </a:solidFill>
                <a:latin typeface="Roboto" panose="02000000000000000000" pitchFamily="2" charset="0"/>
                <a:ea typeface="Roboto" panose="02000000000000000000" pitchFamily="2" charset="0"/>
                <a:cs typeface="+mn-cs"/>
              </a:defRPr>
            </a:lvl2pPr>
            <a:lvl3pPr marL="928688" indent="-185738" algn="l" defTabSz="742950" rtl="0" eaLnBrk="1" latinLnBrk="0" hangingPunct="1">
              <a:lnSpc>
                <a:spcPct val="90000"/>
              </a:lnSpc>
              <a:spcBef>
                <a:spcPts val="406"/>
              </a:spcBef>
              <a:buFont typeface="Arial" panose="020B0604020202020204" pitchFamily="34" charset="0"/>
              <a:buChar char="•"/>
              <a:defRPr sz="1625" kern="1200">
                <a:solidFill>
                  <a:schemeClr val="tx1"/>
                </a:solidFill>
                <a:latin typeface="Roboto" panose="02000000000000000000" pitchFamily="2" charset="0"/>
                <a:ea typeface="Roboto" panose="02000000000000000000" pitchFamily="2" charset="0"/>
                <a:cs typeface="+mn-cs"/>
              </a:defRPr>
            </a:lvl3pPr>
            <a:lvl4pPr marL="13001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Roboto" panose="02000000000000000000" pitchFamily="2" charset="0"/>
                <a:ea typeface="Roboto" panose="02000000000000000000" pitchFamily="2" charset="0"/>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Roboto" panose="02000000000000000000" pitchFamily="2" charset="0"/>
                <a:ea typeface="Roboto" panose="02000000000000000000" pitchFamily="2" charset="0"/>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marL="0" indent="0">
              <a:buNone/>
            </a:pPr>
            <a:r>
              <a:rPr lang="en-AU"/>
              <a:t>The Brief</a:t>
            </a:r>
          </a:p>
        </p:txBody>
      </p:sp>
      <p:grpSp>
        <p:nvGrpSpPr>
          <p:cNvPr id="3" name="Group 2">
            <a:extLst>
              <a:ext uri="{FF2B5EF4-FFF2-40B4-BE49-F238E27FC236}">
                <a16:creationId xmlns:a16="http://schemas.microsoft.com/office/drawing/2014/main" id="{D86FDEF0-E877-4AAF-8D83-798B78C14B3C}"/>
              </a:ext>
            </a:extLst>
          </p:cNvPr>
          <p:cNvGrpSpPr/>
          <p:nvPr/>
        </p:nvGrpSpPr>
        <p:grpSpPr>
          <a:xfrm>
            <a:off x="1061487" y="2568331"/>
            <a:ext cx="2601798" cy="3370650"/>
            <a:chOff x="1088273" y="2646364"/>
            <a:chExt cx="2601798" cy="3370650"/>
          </a:xfrm>
        </p:grpSpPr>
        <p:sp>
          <p:nvSpPr>
            <p:cNvPr id="2" name="Rectangle 1">
              <a:extLst>
                <a:ext uri="{FF2B5EF4-FFF2-40B4-BE49-F238E27FC236}">
                  <a16:creationId xmlns:a16="http://schemas.microsoft.com/office/drawing/2014/main" id="{AEBAFFA8-F35E-474A-BD45-F1FB5F1B66CC}"/>
                </a:ext>
              </a:extLst>
            </p:cNvPr>
            <p:cNvSpPr/>
            <p:nvPr/>
          </p:nvSpPr>
          <p:spPr>
            <a:xfrm>
              <a:off x="1088273" y="3011199"/>
              <a:ext cx="2601798" cy="3005815"/>
            </a:xfrm>
            <a:prstGeom prst="rect">
              <a:avLst/>
            </a:prstGeom>
            <a:solidFill>
              <a:srgbClr val="E8E3F2"/>
            </a:solidFill>
            <a:ln>
              <a:solidFill>
                <a:srgbClr val="8E72BF"/>
              </a:solidFill>
            </a:ln>
          </p:spPr>
          <p:style>
            <a:lnRef idx="2">
              <a:schemeClr val="accent1">
                <a:shade val="50000"/>
              </a:schemeClr>
            </a:lnRef>
            <a:fillRef idx="1">
              <a:schemeClr val="accent1"/>
            </a:fillRef>
            <a:effectRef idx="0">
              <a:schemeClr val="accent1"/>
            </a:effectRef>
            <a:fontRef idx="minor">
              <a:schemeClr val="lt1"/>
            </a:fontRef>
          </p:style>
          <p:txBody>
            <a:bodyPr tIns="612000" rtlCol="0" anchor="t"/>
            <a:lstStyle/>
            <a:p>
              <a:pPr algn="ctr">
                <a:spcAft>
                  <a:spcPts val="1200"/>
                </a:spcAft>
              </a:pPr>
              <a:r>
                <a:rPr lang="en-AU" sz="1600" dirty="0">
                  <a:solidFill>
                    <a:srgbClr val="000005"/>
                  </a:solidFill>
                  <a:latin typeface="Roboto" panose="02000000000000000000" pitchFamily="2" charset="0"/>
                  <a:ea typeface="Roboto" panose="02000000000000000000" pitchFamily="2" charset="0"/>
                  <a:cs typeface="Roboto" panose="02000000000000000000" pitchFamily="2" charset="0"/>
                </a:rPr>
                <a:t>Profitability</a:t>
              </a:r>
              <a:endParaRPr lang="en-AU" sz="1400" dirty="0">
                <a:solidFill>
                  <a:srgbClr val="000005"/>
                </a:solidFill>
                <a:latin typeface="Roboto" panose="02000000000000000000" pitchFamily="2" charset="0"/>
                <a:ea typeface="Roboto" panose="02000000000000000000" pitchFamily="2" charset="0"/>
                <a:cs typeface="Roboto" panose="02000000000000000000" pitchFamily="2" charset="0"/>
              </a:endParaRPr>
            </a:p>
            <a:p>
              <a:pPr algn="ctr">
                <a:spcAft>
                  <a:spcPts val="1200"/>
                </a:spcAft>
              </a:pPr>
              <a:r>
                <a:rPr lang="en-AU" sz="1400" dirty="0">
                  <a:solidFill>
                    <a:srgbClr val="000005"/>
                  </a:solidFill>
                  <a:latin typeface="Roboto Light" panose="02000000000000000000" pitchFamily="2" charset="0"/>
                  <a:ea typeface="Roboto Light" panose="02000000000000000000" pitchFamily="2" charset="0"/>
                </a:rPr>
                <a:t>Measure the profitability of RiskyLending across the 3 years of data available</a:t>
              </a:r>
            </a:p>
            <a:p>
              <a:pPr algn="ctr">
                <a:spcAft>
                  <a:spcPts val="1200"/>
                </a:spcAft>
              </a:pPr>
              <a:r>
                <a:rPr lang="en-AU" sz="1400" dirty="0">
                  <a:solidFill>
                    <a:srgbClr val="000005"/>
                  </a:solidFill>
                  <a:latin typeface="Roboto Light" panose="02000000000000000000" pitchFamily="2" charset="0"/>
                  <a:ea typeface="Roboto Light" panose="02000000000000000000" pitchFamily="2" charset="0"/>
                </a:rPr>
                <a:t>Investigate the impact that the change in commission rate and clawback period will have on profitability and suggest short-term mitigation options</a:t>
              </a:r>
            </a:p>
          </p:txBody>
        </p:sp>
        <p:sp>
          <p:nvSpPr>
            <p:cNvPr id="8" name="Oval 7">
              <a:extLst>
                <a:ext uri="{FF2B5EF4-FFF2-40B4-BE49-F238E27FC236}">
                  <a16:creationId xmlns:a16="http://schemas.microsoft.com/office/drawing/2014/main" id="{8CFF1B4B-A429-4AE1-8B2B-E29BB97F860B}"/>
                </a:ext>
              </a:extLst>
            </p:cNvPr>
            <p:cNvSpPr/>
            <p:nvPr/>
          </p:nvSpPr>
          <p:spPr>
            <a:xfrm>
              <a:off x="2019719" y="2646364"/>
              <a:ext cx="729671" cy="729671"/>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err="1">
                <a:solidFill>
                  <a:srgbClr val="000005"/>
                </a:solidFill>
                <a:latin typeface="Roboto Light" panose="02000000000000000000" pitchFamily="2" charset="0"/>
                <a:ea typeface="Roboto Light" panose="02000000000000000000" pitchFamily="2" charset="0"/>
              </a:endParaRPr>
            </a:p>
          </p:txBody>
        </p:sp>
        <p:sp>
          <p:nvSpPr>
            <p:cNvPr id="15" name="Rectangle 14">
              <a:extLst>
                <a:ext uri="{FF2B5EF4-FFF2-40B4-BE49-F238E27FC236}">
                  <a16:creationId xmlns:a16="http://schemas.microsoft.com/office/drawing/2014/main" id="{81115250-591C-4335-B92C-EABFEE8AB64B}"/>
                </a:ext>
              </a:extLst>
            </p:cNvPr>
            <p:cNvSpPr/>
            <p:nvPr/>
          </p:nvSpPr>
          <p:spPr>
            <a:xfrm>
              <a:off x="2028954" y="2738727"/>
              <a:ext cx="720436" cy="5449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4400">
                  <a:solidFill>
                    <a:srgbClr val="000005"/>
                  </a:solidFill>
                  <a:latin typeface="Roboto Light" panose="02000000000000000000" pitchFamily="2" charset="0"/>
                  <a:ea typeface="Roboto Light" panose="02000000000000000000" pitchFamily="2" charset="0"/>
                </a:rPr>
                <a:t>1</a:t>
              </a:r>
            </a:p>
          </p:txBody>
        </p:sp>
      </p:grpSp>
      <p:grpSp>
        <p:nvGrpSpPr>
          <p:cNvPr id="4" name="Group 3">
            <a:extLst>
              <a:ext uri="{FF2B5EF4-FFF2-40B4-BE49-F238E27FC236}">
                <a16:creationId xmlns:a16="http://schemas.microsoft.com/office/drawing/2014/main" id="{2CDE25FA-0BA0-428B-8D95-FE246ECC9F5A}"/>
              </a:ext>
            </a:extLst>
          </p:cNvPr>
          <p:cNvGrpSpPr/>
          <p:nvPr/>
        </p:nvGrpSpPr>
        <p:grpSpPr>
          <a:xfrm>
            <a:off x="3869028" y="2568331"/>
            <a:ext cx="2601798" cy="3370650"/>
            <a:chOff x="3895814" y="2646364"/>
            <a:chExt cx="2601798" cy="3370650"/>
          </a:xfrm>
        </p:grpSpPr>
        <p:sp>
          <p:nvSpPr>
            <p:cNvPr id="39" name="Rectangle 38">
              <a:extLst>
                <a:ext uri="{FF2B5EF4-FFF2-40B4-BE49-F238E27FC236}">
                  <a16:creationId xmlns:a16="http://schemas.microsoft.com/office/drawing/2014/main" id="{592E81E8-DE2B-46A4-8044-BDB64C752952}"/>
                </a:ext>
              </a:extLst>
            </p:cNvPr>
            <p:cNvSpPr/>
            <p:nvPr/>
          </p:nvSpPr>
          <p:spPr>
            <a:xfrm>
              <a:off x="3895814" y="3011200"/>
              <a:ext cx="2601798" cy="3005814"/>
            </a:xfrm>
            <a:prstGeom prst="rect">
              <a:avLst/>
            </a:prstGeom>
            <a:solidFill>
              <a:srgbClr val="E5F8E5"/>
            </a:solidFill>
            <a:ln>
              <a:solidFill>
                <a:srgbClr val="7FDD7C"/>
              </a:solidFill>
            </a:ln>
          </p:spPr>
          <p:style>
            <a:lnRef idx="2">
              <a:schemeClr val="accent1">
                <a:shade val="50000"/>
              </a:schemeClr>
            </a:lnRef>
            <a:fillRef idx="1">
              <a:schemeClr val="accent1"/>
            </a:fillRef>
            <a:effectRef idx="0">
              <a:schemeClr val="accent1"/>
            </a:effectRef>
            <a:fontRef idx="minor">
              <a:schemeClr val="lt1"/>
            </a:fontRef>
          </p:style>
          <p:txBody>
            <a:bodyPr tIns="612000" rtlCol="0" anchor="t"/>
            <a:lstStyle/>
            <a:p>
              <a:pPr algn="ctr">
                <a:spcAft>
                  <a:spcPts val="1200"/>
                </a:spcAft>
              </a:pPr>
              <a:r>
                <a:rPr lang="en-AU" sz="1600" dirty="0">
                  <a:solidFill>
                    <a:srgbClr val="000005"/>
                  </a:solidFill>
                  <a:latin typeface="Roboto" panose="02000000000000000000" pitchFamily="2" charset="0"/>
                  <a:ea typeface="Roboto" panose="02000000000000000000" pitchFamily="2" charset="0"/>
                  <a:cs typeface="Roboto" panose="02000000000000000000" pitchFamily="2" charset="0"/>
                </a:rPr>
                <a:t>Business model viability</a:t>
              </a:r>
            </a:p>
            <a:p>
              <a:pPr algn="ctr">
                <a:spcAft>
                  <a:spcPts val="1200"/>
                </a:spcAft>
              </a:pPr>
              <a:r>
                <a:rPr lang="en-AU" sz="1400" dirty="0">
                  <a:solidFill>
                    <a:srgbClr val="000005"/>
                  </a:solidFill>
                  <a:latin typeface="Roboto Light" panose="02000000000000000000" pitchFamily="2" charset="0"/>
                  <a:ea typeface="Roboto Light" panose="02000000000000000000" pitchFamily="2" charset="0"/>
                </a:rPr>
                <a:t>Test the viability of RiskyLending’s business model and assess the risk of its current portfolio of loans in the context of prevailing macroeconomic conditions</a:t>
              </a:r>
            </a:p>
          </p:txBody>
        </p:sp>
        <p:sp>
          <p:nvSpPr>
            <p:cNvPr id="47" name="Oval 46">
              <a:extLst>
                <a:ext uri="{FF2B5EF4-FFF2-40B4-BE49-F238E27FC236}">
                  <a16:creationId xmlns:a16="http://schemas.microsoft.com/office/drawing/2014/main" id="{7348AD5E-FBB1-46CD-9CF8-F4D3AA67A2EA}"/>
                </a:ext>
              </a:extLst>
            </p:cNvPr>
            <p:cNvSpPr/>
            <p:nvPr/>
          </p:nvSpPr>
          <p:spPr>
            <a:xfrm>
              <a:off x="4827260" y="2646364"/>
              <a:ext cx="729671" cy="729671"/>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err="1">
                <a:solidFill>
                  <a:srgbClr val="000005"/>
                </a:solidFill>
                <a:latin typeface="Roboto Light" panose="02000000000000000000" pitchFamily="2" charset="0"/>
                <a:ea typeface="Roboto Light" panose="02000000000000000000" pitchFamily="2" charset="0"/>
              </a:endParaRPr>
            </a:p>
          </p:txBody>
        </p:sp>
        <p:sp>
          <p:nvSpPr>
            <p:cNvPr id="50" name="Rectangle 49">
              <a:extLst>
                <a:ext uri="{FF2B5EF4-FFF2-40B4-BE49-F238E27FC236}">
                  <a16:creationId xmlns:a16="http://schemas.microsoft.com/office/drawing/2014/main" id="{17092302-1A3D-4ACF-A3C9-FB0062AA686C}"/>
                </a:ext>
              </a:extLst>
            </p:cNvPr>
            <p:cNvSpPr/>
            <p:nvPr/>
          </p:nvSpPr>
          <p:spPr>
            <a:xfrm>
              <a:off x="4836495" y="2738727"/>
              <a:ext cx="720436" cy="5449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4400">
                  <a:solidFill>
                    <a:srgbClr val="000005"/>
                  </a:solidFill>
                  <a:latin typeface="Roboto Light" panose="02000000000000000000" pitchFamily="2" charset="0"/>
                  <a:ea typeface="Roboto Light" panose="02000000000000000000" pitchFamily="2" charset="0"/>
                </a:rPr>
                <a:t>2</a:t>
              </a:r>
            </a:p>
          </p:txBody>
        </p:sp>
      </p:grpSp>
      <p:grpSp>
        <p:nvGrpSpPr>
          <p:cNvPr id="5" name="Group 4">
            <a:extLst>
              <a:ext uri="{FF2B5EF4-FFF2-40B4-BE49-F238E27FC236}">
                <a16:creationId xmlns:a16="http://schemas.microsoft.com/office/drawing/2014/main" id="{70027D33-CA58-4DE7-81A3-CEEF33B7BDC2}"/>
              </a:ext>
            </a:extLst>
          </p:cNvPr>
          <p:cNvGrpSpPr/>
          <p:nvPr/>
        </p:nvGrpSpPr>
        <p:grpSpPr>
          <a:xfrm>
            <a:off x="6676569" y="2568331"/>
            <a:ext cx="2601798" cy="3370650"/>
            <a:chOff x="6703355" y="2646364"/>
            <a:chExt cx="2601798" cy="3370650"/>
          </a:xfrm>
        </p:grpSpPr>
        <p:sp>
          <p:nvSpPr>
            <p:cNvPr id="42" name="Rectangle 41">
              <a:extLst>
                <a:ext uri="{FF2B5EF4-FFF2-40B4-BE49-F238E27FC236}">
                  <a16:creationId xmlns:a16="http://schemas.microsoft.com/office/drawing/2014/main" id="{7318209E-1128-48DC-AA24-8EF1B521C733}"/>
                </a:ext>
              </a:extLst>
            </p:cNvPr>
            <p:cNvSpPr/>
            <p:nvPr/>
          </p:nvSpPr>
          <p:spPr>
            <a:xfrm>
              <a:off x="6703355" y="3011200"/>
              <a:ext cx="2601798" cy="3005814"/>
            </a:xfrm>
            <a:prstGeom prst="rect">
              <a:avLst/>
            </a:prstGeom>
            <a:solidFill>
              <a:srgbClr val="DAF0F3"/>
            </a:solidFill>
            <a:ln>
              <a:solidFill>
                <a:srgbClr val="44B5C4"/>
              </a:solidFill>
            </a:ln>
          </p:spPr>
          <p:style>
            <a:lnRef idx="2">
              <a:schemeClr val="accent1">
                <a:shade val="50000"/>
              </a:schemeClr>
            </a:lnRef>
            <a:fillRef idx="1">
              <a:schemeClr val="accent1"/>
            </a:fillRef>
            <a:effectRef idx="0">
              <a:schemeClr val="accent1"/>
            </a:effectRef>
            <a:fontRef idx="minor">
              <a:schemeClr val="lt1"/>
            </a:fontRef>
          </p:style>
          <p:txBody>
            <a:bodyPr tIns="612000" rtlCol="0" anchor="t"/>
            <a:lstStyle/>
            <a:p>
              <a:pPr algn="ctr">
                <a:spcAft>
                  <a:spcPts val="1200"/>
                </a:spcAft>
              </a:pPr>
              <a:r>
                <a:rPr lang="en-AU" sz="1600" dirty="0">
                  <a:solidFill>
                    <a:srgbClr val="000005"/>
                  </a:solidFill>
                  <a:latin typeface="Roboto" panose="02000000000000000000" pitchFamily="2" charset="0"/>
                  <a:ea typeface="Roboto" panose="02000000000000000000" pitchFamily="2" charset="0"/>
                  <a:cs typeface="Roboto" panose="02000000000000000000" pitchFamily="2" charset="0"/>
                </a:rPr>
                <a:t>Future road map</a:t>
              </a:r>
            </a:p>
            <a:p>
              <a:pPr algn="ctr">
                <a:spcAft>
                  <a:spcPts val="1200"/>
                </a:spcAft>
              </a:pPr>
              <a:r>
                <a:rPr lang="en-AU" sz="1400" dirty="0">
                  <a:solidFill>
                    <a:srgbClr val="000005"/>
                  </a:solidFill>
                  <a:latin typeface="Roboto Light" panose="02000000000000000000" pitchFamily="2" charset="0"/>
                  <a:ea typeface="Roboto Light" panose="02000000000000000000" pitchFamily="2" charset="0"/>
                </a:rPr>
                <a:t>Provide a long-term strategy for RiskyLending considering the conducted analysis</a:t>
              </a:r>
            </a:p>
            <a:p>
              <a:pPr algn="ctr">
                <a:spcAft>
                  <a:spcPts val="1200"/>
                </a:spcAft>
              </a:pPr>
              <a:r>
                <a:rPr lang="en-AU" sz="1400" dirty="0">
                  <a:solidFill>
                    <a:srgbClr val="000005"/>
                  </a:solidFill>
                  <a:latin typeface="Roboto Light" panose="02000000000000000000" pitchFamily="2" charset="0"/>
                  <a:ea typeface="Roboto Light" panose="02000000000000000000" pitchFamily="2" charset="0"/>
                </a:rPr>
                <a:t>RiskyLending is eager to hear out of the box ideas</a:t>
              </a:r>
            </a:p>
          </p:txBody>
        </p:sp>
        <p:sp>
          <p:nvSpPr>
            <p:cNvPr id="48" name="Oval 47">
              <a:extLst>
                <a:ext uri="{FF2B5EF4-FFF2-40B4-BE49-F238E27FC236}">
                  <a16:creationId xmlns:a16="http://schemas.microsoft.com/office/drawing/2014/main" id="{61839564-8E3C-4EF2-BA72-64B82D1B8CB6}"/>
                </a:ext>
              </a:extLst>
            </p:cNvPr>
            <p:cNvSpPr/>
            <p:nvPr/>
          </p:nvSpPr>
          <p:spPr>
            <a:xfrm>
              <a:off x="7634801" y="2646364"/>
              <a:ext cx="729671" cy="729671"/>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err="1">
                <a:solidFill>
                  <a:srgbClr val="000005"/>
                </a:solidFill>
                <a:latin typeface="Roboto Light" panose="02000000000000000000" pitchFamily="2" charset="0"/>
                <a:ea typeface="Roboto Light" panose="02000000000000000000" pitchFamily="2" charset="0"/>
              </a:endParaRPr>
            </a:p>
          </p:txBody>
        </p:sp>
        <p:sp>
          <p:nvSpPr>
            <p:cNvPr id="52" name="Rectangle 51">
              <a:extLst>
                <a:ext uri="{FF2B5EF4-FFF2-40B4-BE49-F238E27FC236}">
                  <a16:creationId xmlns:a16="http://schemas.microsoft.com/office/drawing/2014/main" id="{FE8ACF23-0B24-4D72-8639-79C8AABA109E}"/>
                </a:ext>
              </a:extLst>
            </p:cNvPr>
            <p:cNvSpPr/>
            <p:nvPr/>
          </p:nvSpPr>
          <p:spPr>
            <a:xfrm>
              <a:off x="7644036" y="2738726"/>
              <a:ext cx="720436" cy="5449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4400">
                  <a:solidFill>
                    <a:srgbClr val="000005"/>
                  </a:solidFill>
                  <a:latin typeface="Roboto Light" panose="02000000000000000000" pitchFamily="2" charset="0"/>
                  <a:ea typeface="Roboto Light" panose="02000000000000000000" pitchFamily="2" charset="0"/>
                </a:rPr>
                <a:t>3</a:t>
              </a:r>
            </a:p>
          </p:txBody>
        </p:sp>
      </p:grpSp>
      <p:sp>
        <p:nvSpPr>
          <p:cNvPr id="20" name="Rectangle 19">
            <a:extLst>
              <a:ext uri="{FF2B5EF4-FFF2-40B4-BE49-F238E27FC236}">
                <a16:creationId xmlns:a16="http://schemas.microsoft.com/office/drawing/2014/main" id="{5C6A8AD7-4E50-4C96-BC21-3CDF7BD50789}"/>
              </a:ext>
            </a:extLst>
          </p:cNvPr>
          <p:cNvSpPr/>
          <p:nvPr/>
        </p:nvSpPr>
        <p:spPr>
          <a:xfrm>
            <a:off x="1061487" y="1016001"/>
            <a:ext cx="8216880" cy="1367743"/>
          </a:xfrm>
          <a:prstGeom prst="rect">
            <a:avLst/>
          </a:prstGeom>
          <a:solidFill>
            <a:srgbClr val="D9E1EF"/>
          </a:solidFill>
          <a:ln w="12700">
            <a:solidFill>
              <a:srgbClr val="3F68AD"/>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algn="ctr">
              <a:spcAft>
                <a:spcPts val="1200"/>
              </a:spcAft>
            </a:pPr>
            <a:r>
              <a:rPr lang="en-AU" sz="1400" dirty="0" err="1">
                <a:solidFill>
                  <a:srgbClr val="000000"/>
                </a:solidFill>
              </a:rPr>
              <a:t>ConnBank</a:t>
            </a:r>
            <a:r>
              <a:rPr lang="en-AU" sz="1400" dirty="0">
                <a:solidFill>
                  <a:srgbClr val="000000"/>
                </a:solidFill>
              </a:rPr>
              <a:t> recently announced a change to the commission rate, reducing it from 4% to 2.5%, and an increase in the clawback period to 18 months</a:t>
            </a:r>
          </a:p>
          <a:p>
            <a:pPr algn="ctr">
              <a:spcAft>
                <a:spcPts val="1200"/>
              </a:spcAft>
            </a:pPr>
            <a:r>
              <a:rPr lang="en-AU" sz="1400" dirty="0">
                <a:solidFill>
                  <a:srgbClr val="3F68AD"/>
                </a:solidFill>
                <a:latin typeface="Roboto" panose="02000000000000000000" pitchFamily="2" charset="0"/>
                <a:ea typeface="Roboto" panose="02000000000000000000" pitchFamily="2" charset="0"/>
                <a:cs typeface="Roboto" panose="02000000000000000000" pitchFamily="2" charset="0"/>
              </a:rPr>
              <a:t>RiskyLending has asked for your help in understanding the current and future state of their business, and would like to be advised on maintaining profitability going forward, with three key deliverables</a:t>
            </a:r>
          </a:p>
        </p:txBody>
      </p:sp>
      <p:sp>
        <p:nvSpPr>
          <p:cNvPr id="25" name="Rectangle 24">
            <a:extLst>
              <a:ext uri="{FF2B5EF4-FFF2-40B4-BE49-F238E27FC236}">
                <a16:creationId xmlns:a16="http://schemas.microsoft.com/office/drawing/2014/main" id="{73DB12F4-F0CC-4525-8785-5443E5AEB1C0}"/>
              </a:ext>
            </a:extLst>
          </p:cNvPr>
          <p:cNvSpPr/>
          <p:nvPr/>
        </p:nvSpPr>
        <p:spPr>
          <a:xfrm>
            <a:off x="4305499" y="6557818"/>
            <a:ext cx="1365628" cy="3001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err="1">
              <a:solidFill>
                <a:srgbClr val="000005"/>
              </a:solidFill>
              <a:latin typeface="Roboto Light" panose="02000000000000000000" pitchFamily="2" charset="0"/>
              <a:ea typeface="Roboto Light" panose="02000000000000000000" pitchFamily="2" charset="0"/>
            </a:endParaRPr>
          </a:p>
        </p:txBody>
      </p:sp>
    </p:spTree>
    <p:extLst>
      <p:ext uri="{BB962C8B-B14F-4D97-AF65-F5344CB8AC3E}">
        <p14:creationId xmlns:p14="http://schemas.microsoft.com/office/powerpoint/2010/main" val="2079077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FC6B08B-D8D7-44D2-8F2C-2F925FA3B2F7}"/>
              </a:ext>
            </a:extLst>
          </p:cNvPr>
          <p:cNvSpPr>
            <a:spLocks noGrp="1"/>
          </p:cNvSpPr>
          <p:nvPr>
            <p:ph idx="1"/>
          </p:nvPr>
        </p:nvSpPr>
        <p:spPr/>
        <p:txBody>
          <a:bodyPr/>
          <a:lstStyle/>
          <a:p>
            <a:r>
              <a:rPr lang="en-AU"/>
              <a:t>Hints and Tips</a:t>
            </a:r>
          </a:p>
        </p:txBody>
      </p:sp>
      <p:grpSp>
        <p:nvGrpSpPr>
          <p:cNvPr id="13" name="Group 12">
            <a:extLst>
              <a:ext uri="{FF2B5EF4-FFF2-40B4-BE49-F238E27FC236}">
                <a16:creationId xmlns:a16="http://schemas.microsoft.com/office/drawing/2014/main" id="{4C7D512E-5406-4814-9F2D-6278445C3932}"/>
              </a:ext>
            </a:extLst>
          </p:cNvPr>
          <p:cNvGrpSpPr/>
          <p:nvPr/>
        </p:nvGrpSpPr>
        <p:grpSpPr>
          <a:xfrm>
            <a:off x="5458691" y="1277284"/>
            <a:ext cx="3925454" cy="4329189"/>
            <a:chOff x="5532582" y="2022763"/>
            <a:chExt cx="3925454" cy="4329189"/>
          </a:xfrm>
        </p:grpSpPr>
        <p:sp>
          <p:nvSpPr>
            <p:cNvPr id="7" name="Rectangle 6">
              <a:extLst>
                <a:ext uri="{FF2B5EF4-FFF2-40B4-BE49-F238E27FC236}">
                  <a16:creationId xmlns:a16="http://schemas.microsoft.com/office/drawing/2014/main" id="{4BE611BC-EA28-4748-8085-ABF759BF3C91}"/>
                </a:ext>
              </a:extLst>
            </p:cNvPr>
            <p:cNvSpPr/>
            <p:nvPr/>
          </p:nvSpPr>
          <p:spPr>
            <a:xfrm>
              <a:off x="5532582" y="2022763"/>
              <a:ext cx="3925454" cy="4329189"/>
            </a:xfrm>
            <a:prstGeom prst="rect">
              <a:avLst/>
            </a:prstGeom>
            <a:solidFill>
              <a:srgbClr val="E8E3F2"/>
            </a:solidFill>
            <a:ln>
              <a:noFill/>
            </a:ln>
          </p:spPr>
          <p:style>
            <a:lnRef idx="2">
              <a:schemeClr val="accent1">
                <a:shade val="50000"/>
              </a:schemeClr>
            </a:lnRef>
            <a:fillRef idx="1">
              <a:schemeClr val="accent1"/>
            </a:fillRef>
            <a:effectRef idx="0">
              <a:schemeClr val="accent1"/>
            </a:effectRef>
            <a:fontRef idx="minor">
              <a:schemeClr val="lt1"/>
            </a:fontRef>
          </p:style>
          <p:txBody>
            <a:bodyPr tIns="324000" rtlCol="0" anchor="t"/>
            <a:lstStyle/>
            <a:p>
              <a:pPr algn="ctr">
                <a:spcBef>
                  <a:spcPts val="600"/>
                </a:spcBef>
              </a:pPr>
              <a:r>
                <a:rPr lang="en-AU">
                  <a:solidFill>
                    <a:srgbClr val="000005"/>
                  </a:solidFill>
                  <a:latin typeface="Roboto" panose="02000000000000000000" pitchFamily="2" charset="0"/>
                  <a:ea typeface="Roboto" panose="02000000000000000000" pitchFamily="2" charset="0"/>
                  <a:cs typeface="Roboto" panose="02000000000000000000" pitchFamily="2" charset="0"/>
                </a:rPr>
                <a:t>Presentation</a:t>
              </a:r>
            </a:p>
            <a:p>
              <a:pPr algn="ctr">
                <a:spcBef>
                  <a:spcPts val="600"/>
                </a:spcBef>
              </a:pPr>
              <a:endParaRPr lang="en-AU" sz="1400">
                <a:solidFill>
                  <a:srgbClr val="000005"/>
                </a:solidFill>
                <a:latin typeface="Roboto Light" panose="02000000000000000000" pitchFamily="2" charset="0"/>
                <a:ea typeface="Roboto Light" panose="02000000000000000000" pitchFamily="2" charset="0"/>
              </a:endParaRPr>
            </a:p>
            <a:p>
              <a:pPr algn="ctr">
                <a:spcBef>
                  <a:spcPts val="600"/>
                </a:spcBef>
              </a:pPr>
              <a:endParaRPr lang="en-AU" sz="1400">
                <a:solidFill>
                  <a:srgbClr val="000005"/>
                </a:solidFill>
                <a:latin typeface="Roboto Light" panose="02000000000000000000" pitchFamily="2" charset="0"/>
                <a:ea typeface="Roboto Light" panose="02000000000000000000" pitchFamily="2" charset="0"/>
              </a:endParaRPr>
            </a:p>
            <a:p>
              <a:pPr algn="ctr">
                <a:spcBef>
                  <a:spcPts val="600"/>
                </a:spcBef>
              </a:pPr>
              <a:endParaRPr lang="en-AU" sz="1400">
                <a:solidFill>
                  <a:srgbClr val="000005"/>
                </a:solidFill>
                <a:latin typeface="Roboto Light" panose="02000000000000000000" pitchFamily="2" charset="0"/>
                <a:ea typeface="Roboto Light" panose="02000000000000000000" pitchFamily="2" charset="0"/>
              </a:endParaRPr>
            </a:p>
            <a:p>
              <a:pPr algn="ctr">
                <a:spcBef>
                  <a:spcPts val="600"/>
                </a:spcBef>
                <a:spcAft>
                  <a:spcPts val="600"/>
                </a:spcAft>
              </a:pPr>
              <a:r>
                <a:rPr lang="en-AU" sz="1400">
                  <a:solidFill>
                    <a:srgbClr val="000005"/>
                  </a:solidFill>
                  <a:latin typeface="Roboto Light" panose="02000000000000000000" pitchFamily="2" charset="0"/>
                  <a:ea typeface="Roboto Light" panose="02000000000000000000" pitchFamily="2" charset="0"/>
                </a:rPr>
                <a:t>The audience is fully aware of the context, so only a brief background is necessary</a:t>
              </a:r>
            </a:p>
            <a:p>
              <a:pPr algn="ctr">
                <a:spcBef>
                  <a:spcPts val="600"/>
                </a:spcBef>
                <a:spcAft>
                  <a:spcPts val="600"/>
                </a:spcAft>
              </a:pPr>
              <a:r>
                <a:rPr lang="en-AU" sz="1400">
                  <a:solidFill>
                    <a:srgbClr val="000005"/>
                  </a:solidFill>
                  <a:latin typeface="Roboto Light" panose="02000000000000000000" pitchFamily="2" charset="0"/>
                  <a:ea typeface="Roboto Light" panose="02000000000000000000" pitchFamily="2" charset="0"/>
                </a:rPr>
                <a:t>Be prepared to back up your findings with data or methodology, but there is no need to cover calculations in detail during the presentation</a:t>
              </a:r>
            </a:p>
            <a:p>
              <a:pPr algn="ctr">
                <a:spcBef>
                  <a:spcPts val="600"/>
                </a:spcBef>
                <a:spcAft>
                  <a:spcPts val="600"/>
                </a:spcAft>
              </a:pPr>
              <a:r>
                <a:rPr lang="en-AU" sz="1400">
                  <a:solidFill>
                    <a:srgbClr val="000005"/>
                  </a:solidFill>
                  <a:latin typeface="Roboto Light" panose="02000000000000000000" pitchFamily="2" charset="0"/>
                  <a:ea typeface="Roboto Light" panose="02000000000000000000" pitchFamily="2" charset="0"/>
                </a:rPr>
                <a:t>Try to think outside the box for the longer-term strategy but make sure it is also practical – be prepared to justify your answers</a:t>
              </a:r>
            </a:p>
          </p:txBody>
        </p:sp>
        <p:pic>
          <p:nvPicPr>
            <p:cNvPr id="9" name="Graphic 8" descr="Presentation with checklist with solid fill">
              <a:extLst>
                <a:ext uri="{FF2B5EF4-FFF2-40B4-BE49-F238E27FC236}">
                  <a16:creationId xmlns:a16="http://schemas.microsoft.com/office/drawing/2014/main" id="{0E0DDC32-F9ED-4D2C-B5E6-C8BB49E2A46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038109" y="2604564"/>
              <a:ext cx="914400" cy="914400"/>
            </a:xfrm>
            <a:prstGeom prst="rect">
              <a:avLst/>
            </a:prstGeom>
          </p:spPr>
        </p:pic>
      </p:grpSp>
      <p:grpSp>
        <p:nvGrpSpPr>
          <p:cNvPr id="12" name="Group 11">
            <a:extLst>
              <a:ext uri="{FF2B5EF4-FFF2-40B4-BE49-F238E27FC236}">
                <a16:creationId xmlns:a16="http://schemas.microsoft.com/office/drawing/2014/main" id="{82559493-EDA7-4C63-BA5E-3367A26DAE5B}"/>
              </a:ext>
            </a:extLst>
          </p:cNvPr>
          <p:cNvGrpSpPr/>
          <p:nvPr/>
        </p:nvGrpSpPr>
        <p:grpSpPr>
          <a:xfrm>
            <a:off x="1117600" y="1277284"/>
            <a:ext cx="3925454" cy="4329189"/>
            <a:chOff x="1191491" y="2022763"/>
            <a:chExt cx="3925454" cy="4329189"/>
          </a:xfrm>
        </p:grpSpPr>
        <p:sp>
          <p:nvSpPr>
            <p:cNvPr id="6" name="Rectangle 5">
              <a:extLst>
                <a:ext uri="{FF2B5EF4-FFF2-40B4-BE49-F238E27FC236}">
                  <a16:creationId xmlns:a16="http://schemas.microsoft.com/office/drawing/2014/main" id="{64063846-A040-4A4D-82D4-C245EE8ED349}"/>
                </a:ext>
              </a:extLst>
            </p:cNvPr>
            <p:cNvSpPr/>
            <p:nvPr/>
          </p:nvSpPr>
          <p:spPr>
            <a:xfrm>
              <a:off x="1191491" y="2022763"/>
              <a:ext cx="3925454" cy="4329189"/>
            </a:xfrm>
            <a:prstGeom prst="rect">
              <a:avLst/>
            </a:prstGeom>
            <a:solidFill>
              <a:srgbClr val="FCEBDA"/>
            </a:solidFill>
            <a:ln>
              <a:noFill/>
            </a:ln>
          </p:spPr>
          <p:style>
            <a:lnRef idx="2">
              <a:schemeClr val="accent1">
                <a:shade val="50000"/>
              </a:schemeClr>
            </a:lnRef>
            <a:fillRef idx="1">
              <a:schemeClr val="accent1"/>
            </a:fillRef>
            <a:effectRef idx="0">
              <a:schemeClr val="accent1"/>
            </a:effectRef>
            <a:fontRef idx="minor">
              <a:schemeClr val="lt1"/>
            </a:fontRef>
          </p:style>
          <p:txBody>
            <a:bodyPr tIns="324000" rtlCol="0" anchor="t"/>
            <a:lstStyle/>
            <a:p>
              <a:pPr algn="ctr">
                <a:spcBef>
                  <a:spcPts val="600"/>
                </a:spcBef>
              </a:pPr>
              <a:r>
                <a:rPr lang="en-AU">
                  <a:solidFill>
                    <a:srgbClr val="000005"/>
                  </a:solidFill>
                  <a:latin typeface="Roboto" panose="02000000000000000000" pitchFamily="2" charset="0"/>
                  <a:ea typeface="Roboto" panose="02000000000000000000" pitchFamily="2" charset="0"/>
                  <a:cs typeface="Roboto" panose="02000000000000000000" pitchFamily="2" charset="0"/>
                </a:rPr>
                <a:t>Data analysis</a:t>
              </a:r>
            </a:p>
            <a:p>
              <a:pPr algn="ctr">
                <a:spcBef>
                  <a:spcPts val="600"/>
                </a:spcBef>
              </a:pPr>
              <a:endParaRPr lang="en-AU" sz="1400">
                <a:solidFill>
                  <a:srgbClr val="000005"/>
                </a:solidFill>
                <a:latin typeface="Roboto Light" panose="02000000000000000000" pitchFamily="2" charset="0"/>
                <a:ea typeface="Roboto Light" panose="02000000000000000000" pitchFamily="2" charset="0"/>
              </a:endParaRPr>
            </a:p>
            <a:p>
              <a:pPr algn="ctr">
                <a:spcBef>
                  <a:spcPts val="600"/>
                </a:spcBef>
              </a:pPr>
              <a:endParaRPr lang="en-AU" sz="1400">
                <a:solidFill>
                  <a:srgbClr val="000005"/>
                </a:solidFill>
                <a:latin typeface="Roboto Light" panose="02000000000000000000" pitchFamily="2" charset="0"/>
                <a:ea typeface="Roboto Light" panose="02000000000000000000" pitchFamily="2" charset="0"/>
              </a:endParaRPr>
            </a:p>
            <a:p>
              <a:pPr algn="ctr">
                <a:spcBef>
                  <a:spcPts val="600"/>
                </a:spcBef>
              </a:pPr>
              <a:endParaRPr lang="en-AU" sz="1400">
                <a:solidFill>
                  <a:srgbClr val="000005"/>
                </a:solidFill>
                <a:latin typeface="Roboto Light" panose="02000000000000000000" pitchFamily="2" charset="0"/>
                <a:ea typeface="Roboto Light" panose="02000000000000000000" pitchFamily="2" charset="0"/>
              </a:endParaRPr>
            </a:p>
            <a:p>
              <a:pPr algn="ctr">
                <a:spcBef>
                  <a:spcPts val="600"/>
                </a:spcBef>
                <a:spcAft>
                  <a:spcPts val="600"/>
                </a:spcAft>
              </a:pPr>
              <a:r>
                <a:rPr lang="en-AU" sz="1400">
                  <a:solidFill>
                    <a:srgbClr val="000005"/>
                  </a:solidFill>
                  <a:latin typeface="Roboto Light" panose="02000000000000000000" pitchFamily="2" charset="0"/>
                  <a:ea typeface="Roboto Light" panose="02000000000000000000" pitchFamily="2" charset="0"/>
                </a:rPr>
                <a:t>The data is built to reflect real world industry data, meaning there could be data errors, blanks and inconsistencies</a:t>
              </a:r>
            </a:p>
            <a:p>
              <a:pPr algn="ctr">
                <a:spcBef>
                  <a:spcPts val="600"/>
                </a:spcBef>
                <a:spcAft>
                  <a:spcPts val="600"/>
                </a:spcAft>
              </a:pPr>
              <a:r>
                <a:rPr lang="en-AU" sz="1400">
                  <a:solidFill>
                    <a:srgbClr val="000005"/>
                  </a:solidFill>
                  <a:latin typeface="Roboto Light" panose="02000000000000000000" pitchFamily="2" charset="0"/>
                  <a:ea typeface="Roboto Light" panose="02000000000000000000" pitchFamily="2" charset="0"/>
                </a:rPr>
                <a:t>Joining data sets will give you deeper insights into each customer</a:t>
              </a:r>
            </a:p>
            <a:p>
              <a:pPr algn="ctr">
                <a:spcBef>
                  <a:spcPts val="600"/>
                </a:spcBef>
                <a:spcAft>
                  <a:spcPts val="600"/>
                </a:spcAft>
              </a:pPr>
              <a:r>
                <a:rPr lang="en-AU" sz="1400">
                  <a:solidFill>
                    <a:srgbClr val="000005"/>
                  </a:solidFill>
                  <a:latin typeface="Roboto Light" panose="02000000000000000000" pitchFamily="2" charset="0"/>
                  <a:ea typeface="Roboto Light" panose="02000000000000000000" pitchFamily="2" charset="0"/>
                </a:rPr>
                <a:t>Make sure your analysis addresses all three key deliverables requested by the client</a:t>
              </a:r>
            </a:p>
            <a:p>
              <a:pPr algn="ctr">
                <a:spcBef>
                  <a:spcPts val="600"/>
                </a:spcBef>
                <a:spcAft>
                  <a:spcPts val="600"/>
                </a:spcAft>
              </a:pPr>
              <a:r>
                <a:rPr lang="en-AU" sz="1400">
                  <a:solidFill>
                    <a:srgbClr val="000005"/>
                  </a:solidFill>
                  <a:latin typeface="Roboto Light" panose="02000000000000000000" pitchFamily="2" charset="0"/>
                  <a:ea typeface="Roboto Light" panose="02000000000000000000" pitchFamily="2" charset="0"/>
                </a:rPr>
                <a:t>To answer the deliverables, you need not only use the data provided. You can also supplement with your own research</a:t>
              </a:r>
            </a:p>
          </p:txBody>
        </p:sp>
        <p:pic>
          <p:nvPicPr>
            <p:cNvPr id="11" name="Graphic 10" descr="Research with solid fill">
              <a:extLst>
                <a:ext uri="{FF2B5EF4-FFF2-40B4-BE49-F238E27FC236}">
                  <a16:creationId xmlns:a16="http://schemas.microsoft.com/office/drawing/2014/main" id="{7DE3CB89-8FF9-4E5D-80F6-9F27A024171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697018" y="2604564"/>
              <a:ext cx="914400" cy="914400"/>
            </a:xfrm>
            <a:prstGeom prst="rect">
              <a:avLst/>
            </a:prstGeom>
          </p:spPr>
        </p:pic>
      </p:grpSp>
      <p:sp>
        <p:nvSpPr>
          <p:cNvPr id="15" name="Rectangle 14">
            <a:extLst>
              <a:ext uri="{FF2B5EF4-FFF2-40B4-BE49-F238E27FC236}">
                <a16:creationId xmlns:a16="http://schemas.microsoft.com/office/drawing/2014/main" id="{C0F98152-A409-4957-A219-5997476EBE76}"/>
              </a:ext>
            </a:extLst>
          </p:cNvPr>
          <p:cNvSpPr/>
          <p:nvPr/>
        </p:nvSpPr>
        <p:spPr>
          <a:xfrm>
            <a:off x="4305499" y="6557818"/>
            <a:ext cx="1365628" cy="3001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err="1">
              <a:solidFill>
                <a:srgbClr val="000005"/>
              </a:solidFill>
              <a:latin typeface="Roboto Light" panose="02000000000000000000" pitchFamily="2" charset="0"/>
              <a:ea typeface="Roboto Light" panose="02000000000000000000" pitchFamily="2" charset="0"/>
            </a:endParaRPr>
          </a:p>
        </p:txBody>
      </p:sp>
    </p:spTree>
    <p:extLst>
      <p:ext uri="{BB962C8B-B14F-4D97-AF65-F5344CB8AC3E}">
        <p14:creationId xmlns:p14="http://schemas.microsoft.com/office/powerpoint/2010/main" val="31839940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85C78E2-5B4E-4AA0-AE25-9808A8161CF4}"/>
              </a:ext>
            </a:extLst>
          </p:cNvPr>
          <p:cNvSpPr>
            <a:spLocks noGrp="1"/>
          </p:cNvSpPr>
          <p:nvPr>
            <p:ph idx="1"/>
          </p:nvPr>
        </p:nvSpPr>
        <p:spPr/>
        <p:txBody>
          <a:bodyPr/>
          <a:lstStyle/>
          <a:p>
            <a:r>
              <a:rPr lang="en-AU"/>
              <a:t>FAQs</a:t>
            </a:r>
          </a:p>
        </p:txBody>
      </p:sp>
      <p:sp>
        <p:nvSpPr>
          <p:cNvPr id="4" name="Rectangle 3">
            <a:extLst>
              <a:ext uri="{FF2B5EF4-FFF2-40B4-BE49-F238E27FC236}">
                <a16:creationId xmlns:a16="http://schemas.microsoft.com/office/drawing/2014/main" id="{7C6352C4-5D11-4913-9582-8D59146362BF}"/>
              </a:ext>
            </a:extLst>
          </p:cNvPr>
          <p:cNvSpPr/>
          <p:nvPr/>
        </p:nvSpPr>
        <p:spPr>
          <a:xfrm>
            <a:off x="972543" y="1360411"/>
            <a:ext cx="7960914" cy="31561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spcAft>
                <a:spcPts val="600"/>
              </a:spcAft>
            </a:pPr>
            <a:r>
              <a:rPr lang="en-AU" sz="1400">
                <a:solidFill>
                  <a:srgbClr val="000005"/>
                </a:solidFill>
                <a:latin typeface="Roboto Light" panose="02000000000000000000" pitchFamily="2" charset="0"/>
                <a:ea typeface="Roboto Light" panose="02000000000000000000" pitchFamily="2" charset="0"/>
              </a:rPr>
              <a:t>1. How long does the presentation need to be?</a:t>
            </a:r>
          </a:p>
          <a:p>
            <a:pPr marL="800100" lvl="1" indent="-342900">
              <a:spcBef>
                <a:spcPts val="600"/>
              </a:spcBef>
              <a:spcAft>
                <a:spcPts val="600"/>
              </a:spcAft>
              <a:buFont typeface="Arial" panose="020B0604020202020204" pitchFamily="34" charset="0"/>
              <a:buChar char="•"/>
            </a:pPr>
            <a:r>
              <a:rPr lang="en-AU" sz="1400">
                <a:solidFill>
                  <a:srgbClr val="3F68AD"/>
                </a:solidFill>
                <a:latin typeface="Roboto Light" panose="02000000000000000000" pitchFamily="2" charset="0"/>
                <a:ea typeface="Roboto Light" panose="02000000000000000000" pitchFamily="2" charset="0"/>
              </a:rPr>
              <a:t>Approximately 10 minutes, plus 5-10 minutes for questions at the end</a:t>
            </a:r>
            <a:endParaRPr lang="en-AU" sz="1400">
              <a:solidFill>
                <a:srgbClr val="000005"/>
              </a:solidFill>
              <a:latin typeface="Roboto Light" panose="02000000000000000000" pitchFamily="2" charset="0"/>
              <a:ea typeface="Roboto Light" panose="02000000000000000000" pitchFamily="2" charset="0"/>
            </a:endParaRPr>
          </a:p>
          <a:p>
            <a:pPr>
              <a:spcBef>
                <a:spcPts val="600"/>
              </a:spcBef>
              <a:spcAft>
                <a:spcPts val="600"/>
              </a:spcAft>
            </a:pPr>
            <a:r>
              <a:rPr lang="en-AU" sz="1400">
                <a:solidFill>
                  <a:srgbClr val="000005"/>
                </a:solidFill>
                <a:latin typeface="Roboto Light" panose="02000000000000000000" pitchFamily="2" charset="0"/>
                <a:ea typeface="Roboto Light" panose="02000000000000000000" pitchFamily="2" charset="0"/>
              </a:rPr>
              <a:t>2. How many slides should be in the presentation?</a:t>
            </a:r>
          </a:p>
          <a:p>
            <a:pPr marL="742950" lvl="1" indent="-285750">
              <a:spcBef>
                <a:spcPts val="600"/>
              </a:spcBef>
              <a:spcAft>
                <a:spcPts val="600"/>
              </a:spcAft>
              <a:buFont typeface="Arial" panose="020B0604020202020204" pitchFamily="34" charset="0"/>
              <a:buChar char="•"/>
            </a:pPr>
            <a:r>
              <a:rPr lang="en-AU" sz="1400">
                <a:solidFill>
                  <a:srgbClr val="3F68AD"/>
                </a:solidFill>
                <a:latin typeface="Roboto Light" panose="02000000000000000000" pitchFamily="2" charset="0"/>
                <a:ea typeface="Roboto Light" panose="02000000000000000000" pitchFamily="2" charset="0"/>
              </a:rPr>
              <a:t>1-2 slides for introduction</a:t>
            </a:r>
          </a:p>
          <a:p>
            <a:pPr marL="742950" lvl="1" indent="-285750">
              <a:spcBef>
                <a:spcPts val="600"/>
              </a:spcBef>
              <a:spcAft>
                <a:spcPts val="600"/>
              </a:spcAft>
              <a:buFont typeface="Arial" panose="020B0604020202020204" pitchFamily="34" charset="0"/>
              <a:buChar char="•"/>
            </a:pPr>
            <a:r>
              <a:rPr lang="en-AU" sz="1400">
                <a:solidFill>
                  <a:srgbClr val="3F68AD"/>
                </a:solidFill>
                <a:latin typeface="Roboto Light" panose="02000000000000000000" pitchFamily="2" charset="0"/>
                <a:ea typeface="Roboto Light" panose="02000000000000000000" pitchFamily="2" charset="0"/>
              </a:rPr>
              <a:t>3-5 slides per key deliverable </a:t>
            </a:r>
          </a:p>
          <a:p>
            <a:pPr marL="742950" lvl="1" indent="-285750">
              <a:spcBef>
                <a:spcPts val="600"/>
              </a:spcBef>
              <a:spcAft>
                <a:spcPts val="600"/>
              </a:spcAft>
              <a:buFont typeface="Arial" panose="020B0604020202020204" pitchFamily="34" charset="0"/>
              <a:buChar char="•"/>
            </a:pPr>
            <a:r>
              <a:rPr lang="en-AU" sz="1400">
                <a:solidFill>
                  <a:srgbClr val="3F68AD"/>
                </a:solidFill>
                <a:latin typeface="Roboto Light" panose="02000000000000000000" pitchFamily="2" charset="0"/>
                <a:ea typeface="Roboto Light" panose="02000000000000000000" pitchFamily="2" charset="0"/>
              </a:rPr>
              <a:t>An optional appendix section with detail of any analysis that may need to be referred to during the presentation</a:t>
            </a:r>
          </a:p>
          <a:p>
            <a:pPr>
              <a:spcBef>
                <a:spcPts val="600"/>
              </a:spcBef>
              <a:spcAft>
                <a:spcPts val="600"/>
              </a:spcAft>
            </a:pPr>
            <a:r>
              <a:rPr lang="en-AU" sz="1400">
                <a:solidFill>
                  <a:srgbClr val="000005"/>
                </a:solidFill>
                <a:latin typeface="Roboto Light" panose="02000000000000000000" pitchFamily="2" charset="0"/>
                <a:ea typeface="Roboto Light" panose="02000000000000000000" pitchFamily="2" charset="0"/>
              </a:rPr>
              <a:t>3. How much detail of calculations should be presented?</a:t>
            </a:r>
          </a:p>
          <a:p>
            <a:pPr marL="742950" lvl="1" indent="-285750">
              <a:spcBef>
                <a:spcPts val="600"/>
              </a:spcBef>
              <a:spcAft>
                <a:spcPts val="600"/>
              </a:spcAft>
              <a:buFont typeface="Arial" panose="020B0604020202020204" pitchFamily="34" charset="0"/>
              <a:buChar char="•"/>
            </a:pPr>
            <a:r>
              <a:rPr lang="en-AU" sz="1400">
                <a:solidFill>
                  <a:srgbClr val="3F68AD"/>
                </a:solidFill>
                <a:latin typeface="Roboto Light" panose="02000000000000000000" pitchFamily="2" charset="0"/>
                <a:ea typeface="Roboto Light" panose="02000000000000000000" pitchFamily="2" charset="0"/>
              </a:rPr>
              <a:t>Assume a non-technical audience, but be prepared to explain any numbers or methodology</a:t>
            </a:r>
          </a:p>
          <a:p>
            <a:pPr marL="742950" lvl="1" indent="-285750">
              <a:spcBef>
                <a:spcPts val="600"/>
              </a:spcBef>
              <a:spcAft>
                <a:spcPts val="600"/>
              </a:spcAft>
              <a:buFont typeface="Arial" panose="020B0604020202020204" pitchFamily="34" charset="0"/>
              <a:buChar char="•"/>
            </a:pPr>
            <a:r>
              <a:rPr lang="en-AU" sz="1400">
                <a:solidFill>
                  <a:srgbClr val="3F68AD"/>
                </a:solidFill>
                <a:latin typeface="Roboto Light" panose="02000000000000000000" pitchFamily="2" charset="0"/>
                <a:ea typeface="Roboto Light" panose="02000000000000000000" pitchFamily="2" charset="0"/>
              </a:rPr>
              <a:t>You should provide a high level overview of methodology and assumptions and present the outputs, though anything more specific can go in the appendix if required</a:t>
            </a:r>
          </a:p>
        </p:txBody>
      </p:sp>
      <p:sp>
        <p:nvSpPr>
          <p:cNvPr id="5" name="Rectangle 4">
            <a:extLst>
              <a:ext uri="{FF2B5EF4-FFF2-40B4-BE49-F238E27FC236}">
                <a16:creationId xmlns:a16="http://schemas.microsoft.com/office/drawing/2014/main" id="{B4CBE063-4FA4-421D-887E-F65C02034C59}"/>
              </a:ext>
            </a:extLst>
          </p:cNvPr>
          <p:cNvSpPr/>
          <p:nvPr/>
        </p:nvSpPr>
        <p:spPr>
          <a:xfrm>
            <a:off x="4305499" y="6557818"/>
            <a:ext cx="1365628" cy="3001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err="1">
              <a:solidFill>
                <a:srgbClr val="000005"/>
              </a:solidFill>
              <a:latin typeface="Roboto Light" panose="02000000000000000000" pitchFamily="2" charset="0"/>
              <a:ea typeface="Roboto Light" panose="02000000000000000000" pitchFamily="2" charset="0"/>
            </a:endParaRPr>
          </a:p>
        </p:txBody>
      </p:sp>
    </p:spTree>
    <p:extLst>
      <p:ext uri="{BB962C8B-B14F-4D97-AF65-F5344CB8AC3E}">
        <p14:creationId xmlns:p14="http://schemas.microsoft.com/office/powerpoint/2010/main" val="41474394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53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 %1&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4&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4&quot;&gt;&lt;elem m_fUsage=&quot;1.36963565010000043465E+00&quot;&gt;&lt;m_msothmcolidx val=&quot;0&quot;/&gt;&lt;m_rgb r=&quot;7F&quot; g=&quot;DD&quot; b=&quot;7C&quot;/&gt;&lt;/elem&gt;&lt;elem m_fUsage=&quot;1.33741383656311518813E+00&quot;&gt;&lt;m_msothmcolidx val=&quot;0&quot;/&gt;&lt;m_rgb r=&quot;44&quot; g=&quot;D6&quot; b=&quot;A3&quot;/&gt;&lt;/elem&gt;&lt;elem m_fUsage=&quot;9.96583320514659920519E-01&quot;&gt;&lt;m_msothmcolidx val=&quot;0&quot;/&gt;&lt;m_rgb r=&quot;EF&quot; g=&quot;9B&quot; b=&quot;47&quot;/&gt;&lt;/elem&gt;&lt;elem m_fUsage=&quot;9.00000000000000022204E-01&quot;&gt;&lt;m_msothmcolidx val=&quot;0&quot;/&gt;&lt;m_rgb r=&quot;F4&quot; g=&quot;91&quot; b=&quot;7E&quot;/&gt;&lt;/elem&gt;&lt;elem m_fUsage=&quot;8.62595518254532733771E-01&quot;&gt;&lt;m_msothmcolidx val=&quot;0&quot;/&gt;&lt;m_rgb r=&quot;EA&quot; g=&quot;CC&quot; b=&quot;77&quot;/&gt;&lt;/elem&gt;&lt;elem m_fUsage=&quot;8.50376924850977600201E-01&quot;&gt;&lt;m_msothmcolidx val=&quot;0&quot;/&gt;&lt;m_rgb r=&quot;44&quot; g=&quot;B5&quot; b=&quot;C4&quot;/&gt;&lt;/elem&gt;&lt;elem m_fUsage=&quot;7.89570195076435998871E-01&quot;&gt;&lt;m_msothmcolidx val=&quot;0&quot;/&gt;&lt;m_rgb r=&quot;8E&quot; g=&quot;72&quot; b=&quot;BF&quot;/&gt;&lt;/elem&gt;&lt;elem m_fUsage=&quot;7.29000000000000092371E-01&quot;&gt;&lt;m_msothmcolidx val=&quot;0&quot;/&gt;&lt;m_rgb r=&quot;E6&quot; g=&quot;E6&quot; b=&quot;E6&quot;/&gt;&lt;/elem&gt;&lt;elem m_fUsage=&quot;4.88320668575649097232E-01&quot;&gt;&lt;m_msothmcolidx val=&quot;0&quot;/&gt;&lt;m_rgb r=&quot;B0&quot; g=&quot;9C&quot; b=&quot;D2&quot;/&gt;&lt;/elem&gt;&lt;elem m_fUsage=&quot;3.98988156350171041531E-01&quot;&gt;&lt;m_msothmcolidx val=&quot;0&quot;/&gt;&lt;m_rgb r=&quot;C9&quot; g=&quot;63&quot; b=&quot;77&quot;/&gt;&lt;/elem&gt;&lt;elem m_fUsage=&quot;3.87420489000000145552E-01&quot;&gt;&lt;m_msothmcolidx val=&quot;0&quot;/&gt;&lt;m_rgb r=&quot;7C&quot; g=&quot;E2&quot; b=&quot;BE&quot;/&gt;&lt;/elem&gt;&lt;elem m_fUsage=&quot;3.13810596090000171188E-01&quot;&gt;&lt;m_msothmcolidx val=&quot;0&quot;/&gt;&lt;m_rgb r=&quot;A0&quot; g=&quot;E6&quot; b=&quot;9E&quot;/&gt;&lt;/elem&gt;&lt;elem m_fUsage=&quot;1.50094635296999207030E-01&quot;&gt;&lt;m_msothmcolidx val=&quot;0&quot;/&gt;&lt;m_rgb r=&quot;59&quot; g=&quot;9B&quot; b=&quot;57&quot;/&gt;&lt;/elem&gt;&lt;elem m_fUsage=&quot;8.74677285324572256764E-02&quot;&gt;&lt;m_msothmcolidx val=&quot;0&quot;/&gt;&lt;m_rgb r=&quot;78&quot; g=&quot;95&quot; b=&quot;C5&quot;/&gt;&lt;/elem&gt;&lt;elem m_fUsage=&quot;7.17897987691853145531E-02&quot;&gt;&lt;m_msothmcolidx val=&quot;0&quot;/&gt;&lt;m_rgb r=&quot;A8&quot; g=&quot;45&quot; b=&quot;32&quot;/&gt;&lt;/elem&gt;&lt;elem m_fUsage=&quot;6.46108188922667886489E-02&quot;&gt;&lt;m_msothmcolidx val=&quot;0&quot;/&gt;&lt;m_rgb r=&quot;8D&quot; g=&quot;45&quot; b=&quot;54&quot;/&gt;&lt;/elem&gt;&lt;elem m_fUsage=&quot;3.81520424476946215520E-02&quot;&gt;&lt;m_msothmcolidx val=&quot;0&quot;/&gt;&lt;m_rgb r=&quot;D9&quot; g=&quot;E1&quot; b=&quot;EF&quot;/&gt;&lt;/elem&gt;&lt;elem m_fUsage=&quot;3.53979548149216116659E-02&quot;&gt;&lt;m_msothmcolidx val=&quot;0&quot;/&gt;&lt;m_rgb r=&quot;B2&quot; g=&quot;C3&quot; b=&quot;DE&quot;/&gt;&lt;/elem&gt;&lt;elem m_fUsage=&quot;2.25283995449391989674E-02&quot;&gt;&lt;m_msothmcolidx val=&quot;0&quot;/&gt;&lt;m_rgb r=&quot;2C&quot; g=&quot;49&quot; b=&quot;79&quot;/&gt;&lt;/elem&gt;&lt;elem m_fUsage=&quot;2.20051057575371133979E-02&quot;&gt;&lt;m_msothmcolidx val=&quot;0&quot;/&gt;&lt;m_rgb r=&quot;A5&quot; g=&quot;A5&quot; b=&quot;A5&quot;/&gt;&lt;/elem&gt;&lt;elem m_fUsage=&quot;2.02755595904452780298E-02&quot;&gt;&lt;m_msothmcolidx val=&quot;0&quot;/&gt;&lt;m_rgb r=&quot;19&quot; g=&quot;2A&quot; b=&quot;45&quot;/&gt;&lt;/elem&gt;&lt;elem m_fUsage=&quot;1.07752636643058292976E-02&quot;&gt;&lt;m_msothmcolidx val=&quot;0&quot;/&gt;&lt;m_rgb r=&quot;53&quot; g=&quot;78&quot; b=&quot;B6&quot;/&gt;&lt;/elem&gt;&lt;elem m_fUsage=&quot;9.69773729787524671475E-03&quot;&gt;&lt;m_msothmcolidx val=&quot;0&quot;/&gt;&lt;m_rgb r=&quot;58&quot; g=&quot;BD&quot; b=&quot;CA&quot;/&gt;&lt;/elem&gt;&lt;elem m_fUsage=&quot;8.72796356808772273717E-03&quot;&gt;&lt;m_msothmcolidx val=&quot;0&quot;/&gt;&lt;m_rgb r=&quot;EE&quot; g=&quot;58&quot; b=&quot;39&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FdyDoAWTii7ndcrUO4hP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RnyoyZeC4aPqn0yzNR2EfQ"/>
</p:tagLst>
</file>

<file path=ppt/theme/theme1.xml><?xml version="1.0" encoding="utf-8"?>
<a:theme xmlns:a="http://schemas.openxmlformats.org/drawingml/2006/main" name="QHO_Template_201809">
  <a:themeElements>
    <a:clrScheme name="Q.colours">
      <a:dk1>
        <a:srgbClr val="000005"/>
      </a:dk1>
      <a:lt1>
        <a:srgbClr val="FFFFFF"/>
      </a:lt1>
      <a:dk2>
        <a:srgbClr val="4A4A4E"/>
      </a:dk2>
      <a:lt2>
        <a:srgbClr val="ECE8E4"/>
      </a:lt2>
      <a:accent1>
        <a:srgbClr val="BCB5AC"/>
      </a:accent1>
      <a:accent2>
        <a:srgbClr val="736E68"/>
      </a:accent2>
      <a:accent3>
        <a:srgbClr val="93908E"/>
      </a:accent3>
      <a:accent4>
        <a:srgbClr val="C7C5C4"/>
      </a:accent4>
      <a:accent5>
        <a:srgbClr val="93908E"/>
      </a:accent5>
      <a:accent6>
        <a:srgbClr val="4A4A4E"/>
      </a:accent6>
      <a:hlink>
        <a:srgbClr val="3F68AD"/>
      </a:hlink>
      <a:folHlink>
        <a:srgbClr val="44B5C5"/>
      </a:folHlink>
    </a:clrScheme>
    <a:fontScheme name="Quantium">
      <a:majorFont>
        <a:latin typeface="Roboto Light"/>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CE8E4"/>
        </a:solidFill>
        <a:ln>
          <a:noFill/>
        </a:ln>
      </a:spPr>
      <a:bodyPr rtlCol="0" anchor="ctr"/>
      <a:lstStyle>
        <a:defPPr algn="ctr">
          <a:defRPr sz="1400" dirty="0" err="1" smtClean="0">
            <a:solidFill>
              <a:srgbClr val="000005"/>
            </a:solidFill>
            <a:latin typeface="Roboto Light" panose="02000000000000000000" pitchFamily="2" charset="0"/>
            <a:ea typeface="Roboto Light" panose="02000000000000000000" pitchFamily="2"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000000"/>
          </a:solidFill>
          <a:prstDash val="solid"/>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ctr">
        <a:noAutofit/>
      </a:bodyPr>
      <a:lstStyle>
        <a:defPPr algn="l">
          <a:defRPr sz="1000" dirty="0">
            <a:latin typeface="Roboto Light" panose="02000000000000000000" pitchFamily="2" charset="0"/>
            <a:ea typeface="Roboto Light" panose="02000000000000000000" pitchFamily="2" charset="0"/>
          </a:defRPr>
        </a:defPPr>
      </a:lstStyle>
    </a:txDef>
  </a:objectDefaults>
  <a:extraClrSchemeLst/>
  <a:custClrLst>
    <a:custClr name="Bright White">
      <a:srgbClr val="FFFFFF"/>
    </a:custClr>
    <a:custClr name="Quantium Black">
      <a:srgbClr val="000005"/>
    </a:custClr>
    <a:custClr name="Quantium Chrome">
      <a:srgbClr val="ECE8E4"/>
    </a:custClr>
    <a:custClr name="Warm grey">
      <a:srgbClr val="BCB5AC"/>
    </a:custClr>
    <a:custClr name="Dark Warm grey">
      <a:srgbClr val="736D67"/>
    </a:custClr>
    <a:custClr name="Light grey">
      <a:srgbClr val="C7C5C4"/>
    </a:custClr>
    <a:custClr name="Grey">
      <a:srgbClr val="93908E"/>
    </a:custClr>
    <a:custClr name="Dark grey">
      <a:srgbClr val="4A4A4E"/>
    </a:custClr>
    <a:custClr name="Blue">
      <a:srgbClr val="3F68AD"/>
    </a:custClr>
    <a:custClr name="Cyan">
      <a:srgbClr val="44B5C4"/>
    </a:custClr>
    <a:custClr name="Turquoise">
      <a:srgbClr val="44D6A3"/>
    </a:custClr>
    <a:custClr name="Green">
      <a:srgbClr val="7FDD7C"/>
    </a:custClr>
    <a:custClr name="Yellow">
      <a:srgbClr val="EACC77"/>
    </a:custClr>
    <a:custClr name="Orange">
      <a:srgbClr val="EF9B47"/>
    </a:custClr>
    <a:custClr name="Coral">
      <a:srgbClr val="EF6347"/>
    </a:custClr>
    <a:custClr name="Burgundy">
      <a:srgbClr val="C96377"/>
    </a:custClr>
    <a:custClr name="Violet">
      <a:srgbClr val="8E72BF"/>
    </a:custClr>
  </a:custClrLst>
  <a:extLst>
    <a:ext uri="{05A4C25C-085E-4340-85A3-A5531E510DB2}">
      <thm15:themeFamily xmlns:thm15="http://schemas.microsoft.com/office/thememl/2012/main" name="QHO_Template_201809" id="{61688CCB-AD8C-402A-8D27-1377BCC6D115}" vid="{A53ACD98-D293-40D7-B599-7149EAA8C95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6DCFCD34DD83D4192632DAE932A8D2F" ma:contentTypeVersion="12" ma:contentTypeDescription="Create a new document." ma:contentTypeScope="" ma:versionID="b19f8c695f4b1286b9383c52e4b78e13">
  <xsd:schema xmlns:xsd="http://www.w3.org/2001/XMLSchema" xmlns:xs="http://www.w3.org/2001/XMLSchema" xmlns:p="http://schemas.microsoft.com/office/2006/metadata/properties" xmlns:ns2="1e1ea1fd-2e6d-44f0-a66f-1cf8aa35a5be" xmlns:ns3="978c02b8-5ec8-463e-8adc-1c72897a6f75" targetNamespace="http://schemas.microsoft.com/office/2006/metadata/properties" ma:root="true" ma:fieldsID="675998e6f60128bdc8377787954831f2" ns2:_="" ns3:_="">
    <xsd:import namespace="1e1ea1fd-2e6d-44f0-a66f-1cf8aa35a5be"/>
    <xsd:import namespace="978c02b8-5ec8-463e-8adc-1c72897a6f75"/>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DateTaken" minOccurs="0"/>
                <xsd:element ref="ns2:MediaServiceEventHashCode" minOccurs="0"/>
                <xsd:element ref="ns2:MediaServiceGenerationTime" minOccurs="0"/>
                <xsd:element ref="ns2:MediaServiceLocation"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e1ea1fd-2e6d-44f0-a66f-1cf8aa35a5b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MediaServiceAutoTags" ma:internalName="MediaServiceAutoTags"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78c02b8-5ec8-463e-8adc-1c72897a6f75"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978c02b8-5ec8-463e-8adc-1c72897a6f75">
      <UserInfo>
        <DisplayName>Greg Kabashima</DisplayName>
        <AccountId>15</AccountId>
        <AccountType/>
      </UserInfo>
      <UserInfo>
        <DisplayName>Dr Gemma Jacklyn</DisplayName>
        <AccountId>367</AccountId>
        <AccountType/>
      </UserInfo>
      <UserInfo>
        <DisplayName>Benjamin Deng</DisplayName>
        <AccountId>48</AccountId>
        <AccountType/>
      </UserInfo>
      <UserInfo>
        <DisplayName>Vincent Tang</DisplayName>
        <AccountId>44</AccountId>
        <AccountType/>
      </UserInfo>
      <UserInfo>
        <DisplayName>Max Yeung</DisplayName>
        <AccountId>14</AccountId>
        <AccountType/>
      </UserInfo>
      <UserInfo>
        <DisplayName>Robert Baskin</DisplayName>
        <AccountId>117</AccountId>
        <AccountType/>
      </UserInfo>
      <UserInfo>
        <DisplayName>Alix Hendry</DisplayName>
        <AccountId>288</AccountId>
        <AccountType/>
      </UserInfo>
      <UserInfo>
        <DisplayName>Cameron Chisholm</DisplayName>
        <AccountId>333</AccountId>
        <AccountType/>
      </UserInfo>
      <UserInfo>
        <DisplayName>Natalia Simson</DisplayName>
        <AccountId>136</AccountId>
        <AccountType/>
      </UserInfo>
      <UserInfo>
        <DisplayName>Nic Horowitz</DisplayName>
        <AccountId>35</AccountId>
        <AccountType/>
      </UserInfo>
      <UserInfo>
        <DisplayName>Liam Gage Brown</DisplayName>
        <AccountId>130</AccountId>
        <AccountType/>
      </UserInfo>
      <UserInfo>
        <DisplayName>Shireen Singhal</DisplayName>
        <AccountId>90</AccountId>
        <AccountType/>
      </UserInfo>
      <UserInfo>
        <DisplayName>Edwin Zhang</DisplayName>
        <AccountId>128</AccountId>
        <AccountType/>
      </UserInfo>
      <UserInfo>
        <DisplayName>Raymond Chan</DisplayName>
        <AccountId>392</AccountId>
        <AccountType/>
      </UserInfo>
      <UserInfo>
        <DisplayName>Otto Li</DisplayName>
        <AccountId>6</AccountId>
        <AccountType/>
      </UserInfo>
      <UserInfo>
        <DisplayName>Rebekah Sawkins</DisplayName>
        <AccountId>348</AccountId>
        <AccountType/>
      </UserInfo>
    </SharedWithUsers>
  </documentManagement>
</p:properties>
</file>

<file path=customXml/itemProps1.xml><?xml version="1.0" encoding="utf-8"?>
<ds:datastoreItem xmlns:ds="http://schemas.openxmlformats.org/officeDocument/2006/customXml" ds:itemID="{ECA984F8-5763-4456-AA82-677D8DE21862}">
  <ds:schemaRefs>
    <ds:schemaRef ds:uri="1e1ea1fd-2e6d-44f0-a66f-1cf8aa35a5be"/>
    <ds:schemaRef ds:uri="978c02b8-5ec8-463e-8adc-1c72897a6f7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96D04C4-EDF9-43D3-8A1E-8D6978F63B4C}">
  <ds:schemaRefs>
    <ds:schemaRef ds:uri="http://schemas.microsoft.com/sharepoint/v3/contenttype/forms"/>
  </ds:schemaRefs>
</ds:datastoreItem>
</file>

<file path=customXml/itemProps3.xml><?xml version="1.0" encoding="utf-8"?>
<ds:datastoreItem xmlns:ds="http://schemas.openxmlformats.org/officeDocument/2006/customXml" ds:itemID="{8BF2FC3C-3FFA-47F9-9B2A-137AEA6B338B}">
  <ds:schemaRefs>
    <ds:schemaRef ds:uri="1e1ea1fd-2e6d-44f0-a66f-1cf8aa35a5be"/>
    <ds:schemaRef ds:uri="978c02b8-5ec8-463e-8adc-1c72897a6f7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92</TotalTime>
  <Words>623</Words>
  <Application>Microsoft Office PowerPoint</Application>
  <PresentationFormat>A4 Paper (210x297 mm)</PresentationFormat>
  <Paragraphs>64</Paragraphs>
  <Slides>5</Slides>
  <Notes>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5" baseType="lpstr">
      <vt:lpstr>Perpetua</vt:lpstr>
      <vt:lpstr>Microsoft New Tai Lue</vt:lpstr>
      <vt:lpstr>Roboto Light</vt:lpstr>
      <vt:lpstr>Calibri</vt:lpstr>
      <vt:lpstr>Berlin Sans FB Demi</vt:lpstr>
      <vt:lpstr>Arial</vt:lpstr>
      <vt:lpstr>Roboto</vt:lpstr>
      <vt:lpstr>Roboto Medium</vt:lpstr>
      <vt:lpstr>QHO_Template_201809</vt:lpstr>
      <vt:lpstr>think-cell Slide</vt:lpstr>
      <vt:lpstr>2023 Quantium Problem Solving Challenge</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mes Oates</dc:creator>
  <cp:lastModifiedBy>Aditya Katiyar</cp:lastModifiedBy>
  <cp:revision>6</cp:revision>
  <cp:lastPrinted>2020-07-22T03:43:26Z</cp:lastPrinted>
  <dcterms:created xsi:type="dcterms:W3CDTF">2020-04-13T02:37:33Z</dcterms:created>
  <dcterms:modified xsi:type="dcterms:W3CDTF">2023-09-20T04:47: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88ceaed-94c2-4765-adc2-4a54d299d718_Enabled">
    <vt:lpwstr>True</vt:lpwstr>
  </property>
  <property fmtid="{D5CDD505-2E9C-101B-9397-08002B2CF9AE}" pid="3" name="MSIP_Label_288ceaed-94c2-4765-adc2-4a54d299d718_SiteId">
    <vt:lpwstr>6cf6dc61-aaec-4d60-8dd0-2007ec95b05e</vt:lpwstr>
  </property>
  <property fmtid="{D5CDD505-2E9C-101B-9397-08002B2CF9AE}" pid="4" name="MSIP_Label_288ceaed-94c2-4765-adc2-4a54d299d718_Owner">
    <vt:lpwstr>joates@quantium.com</vt:lpwstr>
  </property>
  <property fmtid="{D5CDD505-2E9C-101B-9397-08002B2CF9AE}" pid="5" name="MSIP_Label_288ceaed-94c2-4765-adc2-4a54d299d718_SetDate">
    <vt:lpwstr>2020-04-13T02:55:30.8704101Z</vt:lpwstr>
  </property>
  <property fmtid="{D5CDD505-2E9C-101B-9397-08002B2CF9AE}" pid="6" name="MSIP_Label_288ceaed-94c2-4765-adc2-4a54d299d718_Name">
    <vt:lpwstr>Restricted</vt:lpwstr>
  </property>
  <property fmtid="{D5CDD505-2E9C-101B-9397-08002B2CF9AE}" pid="7" name="MSIP_Label_288ceaed-94c2-4765-adc2-4a54d299d718_Application">
    <vt:lpwstr>Microsoft Azure Information Protection</vt:lpwstr>
  </property>
  <property fmtid="{D5CDD505-2E9C-101B-9397-08002B2CF9AE}" pid="8" name="MSIP_Label_288ceaed-94c2-4765-adc2-4a54d299d718_ActionId">
    <vt:lpwstr>7d2a37b4-5c65-49ab-a7ba-2e8f2691fdab</vt:lpwstr>
  </property>
  <property fmtid="{D5CDD505-2E9C-101B-9397-08002B2CF9AE}" pid="9" name="MSIP_Label_288ceaed-94c2-4765-adc2-4a54d299d718_Extended_MSFT_Method">
    <vt:lpwstr>Manual</vt:lpwstr>
  </property>
  <property fmtid="{D5CDD505-2E9C-101B-9397-08002B2CF9AE}" pid="10" name="Sensitivity">
    <vt:lpwstr>Restricted</vt:lpwstr>
  </property>
  <property fmtid="{D5CDD505-2E9C-101B-9397-08002B2CF9AE}" pid="11" name="ContentTypeId">
    <vt:lpwstr>0x010100B6DCFCD34DD83D4192632DAE932A8D2F</vt:lpwstr>
  </property>
</Properties>
</file>